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4"/>
    <p:sldMasterId id="2147483693" r:id="rId5"/>
    <p:sldMasterId id="2147483687" r:id="rId6"/>
    <p:sldMasterId id="2147483725" r:id="rId7"/>
    <p:sldMasterId id="2147483784" r:id="rId8"/>
    <p:sldMasterId id="2147483807" r:id="rId9"/>
    <p:sldMasterId id="2147483849" r:id="rId10"/>
    <p:sldMasterId id="2147483880" r:id="rId11"/>
    <p:sldMasterId id="2147483909" r:id="rId12"/>
  </p:sldMasterIdLst>
  <p:notesMasterIdLst>
    <p:notesMasterId r:id="rId40"/>
  </p:notesMasterIdLst>
  <p:sldIdLst>
    <p:sldId id="269" r:id="rId13"/>
    <p:sldId id="513" r:id="rId14"/>
    <p:sldId id="267" r:id="rId15"/>
    <p:sldId id="510" r:id="rId16"/>
    <p:sldId id="270" r:id="rId17"/>
    <p:sldId id="268" r:id="rId18"/>
    <p:sldId id="512" r:id="rId19"/>
    <p:sldId id="503" r:id="rId20"/>
    <p:sldId id="496" r:id="rId21"/>
    <p:sldId id="264" r:id="rId22"/>
    <p:sldId id="271" r:id="rId23"/>
    <p:sldId id="514" r:id="rId24"/>
    <p:sldId id="272" r:id="rId25"/>
    <p:sldId id="274" r:id="rId26"/>
    <p:sldId id="275" r:id="rId27"/>
    <p:sldId id="508" r:id="rId28"/>
    <p:sldId id="456" r:id="rId29"/>
    <p:sldId id="277" r:id="rId30"/>
    <p:sldId id="278" r:id="rId31"/>
    <p:sldId id="498" r:id="rId32"/>
    <p:sldId id="504" r:id="rId33"/>
    <p:sldId id="499" r:id="rId34"/>
    <p:sldId id="279" r:id="rId35"/>
    <p:sldId id="500" r:id="rId36"/>
    <p:sldId id="305" r:id="rId37"/>
    <p:sldId id="505" r:id="rId38"/>
    <p:sldId id="494" r:id="rId39"/>
  </p:sldIdLst>
  <p:sldSz cx="12192000" cy="6858000"/>
  <p:notesSz cx="6797675" cy="9928225"/>
  <p:defaultTextStyle>
    <a:defPPr>
      <a:defRPr lang="en"/>
    </a:defPPr>
    <a:lvl1pPr marL="0" algn="l" defTabSz="914400" rtl="0" eaLnBrk="1" fontAlgn="ctr" latinLnBrk="0" hangingPunct="1">
      <a:defRPr sz="1800" kern="1200">
        <a:solidFill>
          <a:schemeClr val="tx1"/>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04B658-F762-88D6-DDF5-2F4D076A8EC2}" name="Wettre, Maya" initials="WM" userId="S::mwet@riksrevisjonen.no::eea139d6-93ad-4c63-8ba8-5055f1c19e6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6B5"/>
    <a:srgbClr val="FFFFFF"/>
    <a:srgbClr val="CC9900"/>
    <a:srgbClr val="F9EAD3"/>
    <a:srgbClr val="F9EAD4"/>
    <a:srgbClr val="A4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0A15C55-8517-42AA-B614-E9B94910E393}" styleName="Middels stil 2 – uthev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42"/>
    <p:restoredTop sz="94595"/>
  </p:normalViewPr>
  <p:slideViewPr>
    <p:cSldViewPr snapToGrid="0">
      <p:cViewPr varScale="1">
        <p:scale>
          <a:sx n="115" d="100"/>
          <a:sy n="115" d="100"/>
        </p:scale>
        <p:origin x="784"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notesMaster" Target="notesMasters/notesMaster1.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20" Type="http://schemas.openxmlformats.org/officeDocument/2006/relationships/slide" Target="slides/slide8.xml"/><Relationship Id="rId4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BABF20BA-E99F-4EDF-AFBC-C9D56F0D67ED}" type="datetimeFigureOut">
              <a:rPr lang="nb-NO" smtClean="0"/>
              <a:t>14.03.2026</a:t>
            </a:fld>
            <a:endParaRPr lang="nb-NO"/>
          </a:p>
        </p:txBody>
      </p:sp>
      <p:sp>
        <p:nvSpPr>
          <p:cNvPr id="4" name="Plassholder for lysbil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67C1A723-D5A6-49E6-B9B6-4C571BFAA4A9}" type="slidenum">
              <a:rPr lang="nb-NO" smtClean="0"/>
              <a:t>‹#›</a:t>
            </a:fld>
            <a:endParaRPr lang="nb-NO"/>
          </a:p>
        </p:txBody>
      </p:sp>
    </p:spTree>
    <p:extLst>
      <p:ext uri="{BB962C8B-B14F-4D97-AF65-F5344CB8AC3E}">
        <p14:creationId xmlns:p14="http://schemas.microsoft.com/office/powerpoint/2010/main" val="1825397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E05972DB-5CCB-7F42-B73E-C3AFD346342E}" type="slidenum">
              <a:rPr lang="nb-NO" smtClean="0"/>
              <a:t>16</a:t>
            </a:fld>
            <a:endParaRPr lang="nb-NO"/>
          </a:p>
        </p:txBody>
      </p:sp>
    </p:spTree>
    <p:extLst>
      <p:ext uri="{BB962C8B-B14F-4D97-AF65-F5344CB8AC3E}">
        <p14:creationId xmlns:p14="http://schemas.microsoft.com/office/powerpoint/2010/main" val="1575910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E05972DB-5CCB-7F42-B73E-C3AFD346342E}" type="slidenum">
              <a:rPr lang="nb-NO" smtClean="0"/>
              <a:t>17</a:t>
            </a:fld>
            <a:endParaRPr lang="nb-NO"/>
          </a:p>
        </p:txBody>
      </p:sp>
    </p:spTree>
    <p:extLst>
      <p:ext uri="{BB962C8B-B14F-4D97-AF65-F5344CB8AC3E}">
        <p14:creationId xmlns:p14="http://schemas.microsoft.com/office/powerpoint/2010/main" val="9514698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hyperlink" Target="https://fonts.google.com/specimen/Inter" TargetMode="External"/><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6.tif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2.sv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6.sv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sv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sv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0.sv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sv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4.sv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sv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7.sv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4.sv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2.sv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sv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sv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5.xml"/><Relationship Id="rId4" Type="http://schemas.openxmlformats.org/officeDocument/2006/relationships/image" Target="../media/image15.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sv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4.sv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sv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7.sv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4.sv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2.sv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sv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34255265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5A0B7BFA-E24C-73A4-7488-E6AF2D0E4B51}"/>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20105401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nholdsside: Figur til venstr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B0569C10-46F8-7830-8599-39E0707C5AF7}"/>
              </a:ext>
            </a:extLst>
          </p:cNvPr>
          <p:cNvPicPr>
            <a:picLocks noChangeAspect="1"/>
          </p:cNvPicPr>
          <p:nvPr userDrawn="1"/>
        </p:nvPicPr>
        <p:blipFill>
          <a:blip r:embed="rId2"/>
          <a:srcRect/>
          <a:stretch/>
        </p:blipFill>
        <p:spPr>
          <a:xfrm>
            <a:off x="314629" y="6237885"/>
            <a:ext cx="336724" cy="374664"/>
          </a:xfrm>
          <a:prstGeom prst="rect">
            <a:avLst/>
          </a:prstGeom>
        </p:spPr>
      </p:pic>
      <p:sp>
        <p:nvSpPr>
          <p:cNvPr id="4" name="Plassholder for innhold 2">
            <a:extLst>
              <a:ext uri="{FF2B5EF4-FFF2-40B4-BE49-F238E27FC236}">
                <a16:creationId xmlns:a16="http://schemas.microsoft.com/office/drawing/2014/main" id="{3B14747F-C5C8-4813-AACF-33170B96353A}"/>
              </a:ext>
            </a:extLst>
          </p:cNvPr>
          <p:cNvSpPr>
            <a:spLocks noGrp="1" noChangeAspect="1"/>
          </p:cNvSpPr>
          <p:nvPr>
            <p:ph idx="1"/>
          </p:nvPr>
        </p:nvSpPr>
        <p:spPr>
          <a:xfrm>
            <a:off x="6542927" y="1111744"/>
            <a:ext cx="5399999" cy="5126141"/>
          </a:xfrm>
        </p:spPr>
        <p:txBody>
          <a:bodyPr anchor="t" anchorCtr="0">
            <a:noAutofit/>
          </a:bodyPr>
          <a:lstStyle>
            <a:lvl1pPr>
              <a:buClr>
                <a:srgbClr val="A40000"/>
              </a:buClr>
              <a:defRPr sz="2400">
                <a:solidFill>
                  <a:schemeClr val="tx1"/>
                </a:solidFill>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innhold 2">
            <a:extLst>
              <a:ext uri="{FF2B5EF4-FFF2-40B4-BE49-F238E27FC236}">
                <a16:creationId xmlns:a16="http://schemas.microsoft.com/office/drawing/2014/main" id="{3D3196D2-8EB5-1122-48BC-46EFC8379984}"/>
              </a:ext>
            </a:extLst>
          </p:cNvPr>
          <p:cNvSpPr>
            <a:spLocks noGrp="1"/>
          </p:cNvSpPr>
          <p:nvPr>
            <p:ph idx="10"/>
          </p:nvPr>
        </p:nvSpPr>
        <p:spPr>
          <a:xfrm>
            <a:off x="838200" y="2091846"/>
            <a:ext cx="5400000" cy="4146039"/>
          </a:xfrm>
        </p:spPr>
        <p:txBody>
          <a:bodyPr anchor="t" anchorCtr="0">
            <a:noAutofit/>
          </a:bodyPr>
          <a:lstStyle>
            <a:lvl1pPr>
              <a:buClr>
                <a:srgbClr val="A40000"/>
              </a:buClr>
              <a:defRPr sz="2400">
                <a:solidFill>
                  <a:schemeClr val="tx1"/>
                </a:solidFill>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ekst 9">
            <a:extLst>
              <a:ext uri="{FF2B5EF4-FFF2-40B4-BE49-F238E27FC236}">
                <a16:creationId xmlns:a16="http://schemas.microsoft.com/office/drawing/2014/main" id="{73B324AC-DC30-80C1-FB42-816079551CDD}"/>
              </a:ext>
            </a:extLst>
          </p:cNvPr>
          <p:cNvSpPr>
            <a:spLocks noGrp="1"/>
          </p:cNvSpPr>
          <p:nvPr>
            <p:ph type="body" sz="quarter" idx="11" hasCustomPrompt="1"/>
          </p:nvPr>
        </p:nvSpPr>
        <p:spPr>
          <a:xfrm>
            <a:off x="837525" y="1111744"/>
            <a:ext cx="5400675" cy="827999"/>
          </a:xfrm>
          <a:solidFill>
            <a:srgbClr val="CCE3FF"/>
          </a:solidFill>
          <a:ln>
            <a:noFill/>
          </a:ln>
        </p:spPr>
        <p:txBody>
          <a:bodyPr wrap="square" lIns="251999" rIns="251999" anchor="ctr">
            <a:noAutofit/>
          </a:bodyPr>
          <a:lstStyle>
            <a:lvl1pPr marL="0" indent="0">
              <a:buNone/>
              <a:defRPr sz="1800" b="1" i="0">
                <a:solidFill>
                  <a:srgbClr val="193271"/>
                </a:solidFill>
                <a:latin typeface="Avenir Next Demi Bold" panose="020B0503020202020204" pitchFamily="34" charset="0"/>
              </a:defRPr>
            </a:lvl1pPr>
          </a:lstStyle>
          <a:p>
            <a:pPr lvl="0"/>
            <a:r>
              <a:rPr lang="nb-NO"/>
              <a:t>Beskriv figuren – maks to linjer</a:t>
            </a:r>
          </a:p>
        </p:txBody>
      </p:sp>
      <p:sp>
        <p:nvSpPr>
          <p:cNvPr id="8" name="Tittel 1">
            <a:extLst>
              <a:ext uri="{FF2B5EF4-FFF2-40B4-BE49-F238E27FC236}">
                <a16:creationId xmlns:a16="http://schemas.microsoft.com/office/drawing/2014/main" id="{25953FBA-6EE0-05B9-ECF3-2467C7AEC17A}"/>
              </a:ext>
            </a:extLst>
          </p:cNvPr>
          <p:cNvSpPr>
            <a:spLocks noGrp="1"/>
          </p:cNvSpPr>
          <p:nvPr>
            <p:ph type="title" hasCustomPrompt="1"/>
          </p:nvPr>
        </p:nvSpPr>
        <p:spPr>
          <a:xfrm>
            <a:off x="838200" y="365124"/>
            <a:ext cx="11104726" cy="640716"/>
          </a:xfrm>
        </p:spPr>
        <p:txBody>
          <a:bodyPr anchor="t" anchorCtr="0">
            <a:noAutofit/>
          </a:bodyPr>
          <a:lstStyle>
            <a:lvl1pPr>
              <a:defRPr sz="4000" b="1" i="0">
                <a:solidFill>
                  <a:srgbClr val="A40000"/>
                </a:solidFill>
                <a:latin typeface="Avenir Next Demi Bold" panose="020B0503020202020204" pitchFamily="34" charset="0"/>
              </a:defRPr>
            </a:lvl1pPr>
          </a:lstStyle>
          <a:p>
            <a:r>
              <a:rPr lang="nb-NO"/>
              <a:t>Sett inn kort overskrift</a:t>
            </a:r>
          </a:p>
        </p:txBody>
      </p:sp>
    </p:spTree>
    <p:extLst>
      <p:ext uri="{BB962C8B-B14F-4D97-AF65-F5344CB8AC3E}">
        <p14:creationId xmlns:p14="http://schemas.microsoft.com/office/powerpoint/2010/main" val="39829851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nholdsside">
    <p:bg>
      <p:bgPr>
        <a:solidFill>
          <a:schemeClr val="bg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953AC85-968B-1745-BD3E-F032213D779C}"/>
              </a:ext>
            </a:extLst>
          </p:cNvPr>
          <p:cNvPicPr>
            <a:picLocks noChangeAspect="1"/>
          </p:cNvPicPr>
          <p:nvPr userDrawn="1"/>
        </p:nvPicPr>
        <p:blipFill>
          <a:blip r:embed="rId2"/>
          <a:srcRect/>
          <a:stretch/>
        </p:blipFill>
        <p:spPr>
          <a:xfrm>
            <a:off x="314629" y="6237885"/>
            <a:ext cx="336724" cy="374664"/>
          </a:xfrm>
          <a:prstGeom prst="rect">
            <a:avLst/>
          </a:prstGeom>
        </p:spPr>
      </p:pic>
      <p:sp>
        <p:nvSpPr>
          <p:cNvPr id="11" name="Plassholder for innhold 2">
            <a:extLst>
              <a:ext uri="{FF2B5EF4-FFF2-40B4-BE49-F238E27FC236}">
                <a16:creationId xmlns:a16="http://schemas.microsoft.com/office/drawing/2014/main" id="{5845D3EF-F9F2-3362-2D9F-28066B887A30}"/>
              </a:ext>
            </a:extLst>
          </p:cNvPr>
          <p:cNvSpPr>
            <a:spLocks noGrp="1"/>
          </p:cNvSpPr>
          <p:nvPr>
            <p:ph idx="10" hasCustomPrompt="1"/>
          </p:nvPr>
        </p:nvSpPr>
        <p:spPr>
          <a:xfrm>
            <a:off x="838198" y="347903"/>
            <a:ext cx="10622281" cy="1344974"/>
          </a:xfrm>
        </p:spPr>
        <p:txBody>
          <a:bodyPr anchor="ctr" anchorCtr="0">
            <a:noAutofit/>
          </a:bodyPr>
          <a:lstStyle>
            <a:lvl1pPr marL="0" indent="0">
              <a:buClr>
                <a:srgbClr val="A40000"/>
              </a:buClr>
              <a:buNone/>
              <a:defRPr sz="4000" b="1" i="0">
                <a:solidFill>
                  <a:srgbClr val="A40000"/>
                </a:solidFill>
                <a:latin typeface="Avenir Next Demi Bold" panose="020B0503020202020204" pitchFamily="34" charset="0"/>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Sett inn overskrift</a:t>
            </a:r>
          </a:p>
        </p:txBody>
      </p:sp>
      <p:sp>
        <p:nvSpPr>
          <p:cNvPr id="3" name="Plassholder for innhold 2">
            <a:extLst>
              <a:ext uri="{FF2B5EF4-FFF2-40B4-BE49-F238E27FC236}">
                <a16:creationId xmlns:a16="http://schemas.microsoft.com/office/drawing/2014/main" id="{A443B06C-B457-E894-8B05-0BCDE1B7FC85}"/>
              </a:ext>
            </a:extLst>
          </p:cNvPr>
          <p:cNvSpPr>
            <a:spLocks noGrp="1"/>
          </p:cNvSpPr>
          <p:nvPr>
            <p:ph idx="11"/>
          </p:nvPr>
        </p:nvSpPr>
        <p:spPr>
          <a:xfrm>
            <a:off x="838199" y="1787236"/>
            <a:ext cx="10622281" cy="4450649"/>
          </a:xfrm>
        </p:spPr>
        <p:txBody>
          <a:bodyPr anchor="t" anchorCtr="0">
            <a:noAutofit/>
          </a:bodyPr>
          <a:lstStyle>
            <a:lvl1pPr>
              <a:buClr>
                <a:srgbClr val="A40000"/>
              </a:buClr>
              <a:defRPr sz="2400">
                <a:solidFill>
                  <a:schemeClr val="tx1"/>
                </a:solidFill>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Klikk for å redigere</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09315741"/>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Kun tittel">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0000" tIns="45720" rIns="91440" bIns="45720" rtlCol="0" anchor="b">
            <a:noAutofit/>
          </a:bodyPr>
          <a:lstStyle>
            <a:lvl1pPr>
              <a:defRPr lang="nb-NO" noProof="0" dirty="0"/>
            </a:lvl1pPr>
          </a:lstStyle>
          <a:p>
            <a:pPr lvl="0"/>
            <a:endParaRPr lang="nb-NO" noProof="0"/>
          </a:p>
        </p:txBody>
      </p:sp>
      <p:sp>
        <p:nvSpPr>
          <p:cNvPr id="6" name="Slide Number Placeholder 5"/>
          <p:cNvSpPr>
            <a:spLocks noGrp="1"/>
          </p:cNvSpPr>
          <p:nvPr>
            <p:ph type="sldNum" sz="quarter" idx="12"/>
          </p:nvPr>
        </p:nvSpPr>
        <p:spPr/>
        <p:txBody>
          <a:bodyPr/>
          <a:lstStyle/>
          <a:p>
            <a:fld id="{618FBC2E-150B-49D4-A5E9-D014A10F5E5B}" type="slidenum">
              <a:rPr lang="nb-NO" smtClean="0"/>
              <a:t>‹#›</a:t>
            </a:fld>
            <a:endParaRPr lang="nb-NO"/>
          </a:p>
        </p:txBody>
      </p:sp>
      <p:cxnSp>
        <p:nvCxnSpPr>
          <p:cNvPr id="7" name="Straight Connector 6"/>
          <p:cNvCxnSpPr/>
          <p:nvPr userDrawn="1"/>
        </p:nvCxnSpPr>
        <p:spPr>
          <a:xfrm>
            <a:off x="1329176" y="1328149"/>
            <a:ext cx="90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16710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6885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8" name="Plassholder for bunntekst 2"/>
          <p:cNvSpPr>
            <a:spLocks noGrp="1"/>
          </p:cNvSpPr>
          <p:nvPr>
            <p:ph type="ftr" sz="quarter" idx="10"/>
          </p:nvPr>
        </p:nvSpPr>
        <p:spPr>
          <a:xfrm>
            <a:off x="1871531" y="6265343"/>
            <a:ext cx="6528726" cy="276871"/>
          </a:xfrm>
        </p:spPr>
        <p:txBody>
          <a:bodyPr/>
          <a:lstStyle/>
          <a:p>
            <a:endParaRPr lang="nb-NO"/>
          </a:p>
        </p:txBody>
      </p:sp>
      <p:sp>
        <p:nvSpPr>
          <p:cNvPr id="9" name="Plassholder for lysbildenummer 3"/>
          <p:cNvSpPr>
            <a:spLocks noGrp="1"/>
          </p:cNvSpPr>
          <p:nvPr>
            <p:ph type="sldNum" sz="quarter" idx="11"/>
          </p:nvPr>
        </p:nvSpPr>
        <p:spPr>
          <a:xfrm>
            <a:off x="8507200" y="6265343"/>
            <a:ext cx="2844800" cy="276871"/>
          </a:xfrm>
        </p:spPr>
        <p:txBody>
          <a:bodyPr/>
          <a:lstStyle/>
          <a:p>
            <a:fld id="{BB087720-8024-4DD6-978D-6C7F11933EA5}" type="slidenum">
              <a:rPr lang="nb-NO" smtClean="0"/>
              <a:pPr/>
              <a:t>‹#›</a:t>
            </a:fld>
            <a:endParaRPr lang="nb-NO"/>
          </a:p>
        </p:txBody>
      </p:sp>
      <p:sp>
        <p:nvSpPr>
          <p:cNvPr id="5" name="Plassholder for innhold 4">
            <a:extLst>
              <a:ext uri="{FF2B5EF4-FFF2-40B4-BE49-F238E27FC236}">
                <a16:creationId xmlns:a16="http://schemas.microsoft.com/office/drawing/2014/main" id="{57429B50-E2B4-4488-A02D-5595C7202926}"/>
              </a:ext>
            </a:extLst>
          </p:cNvPr>
          <p:cNvSpPr>
            <a:spLocks noGrp="1"/>
          </p:cNvSpPr>
          <p:nvPr>
            <p:ph idx="15"/>
          </p:nvPr>
        </p:nvSpPr>
        <p:spPr>
          <a:xfrm>
            <a:off x="629916" y="1583832"/>
            <a:ext cx="5219294" cy="4140000"/>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317145" y="1583832"/>
            <a:ext cx="5219294" cy="4140000"/>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423045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Forside alternativ 1">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889BDD-A5DA-449C-9F32-411F60AB59E7}"/>
              </a:ext>
            </a:extLst>
          </p:cNvPr>
          <p:cNvSpPr/>
          <p:nvPr userDrawn="1"/>
        </p:nvSpPr>
        <p:spPr>
          <a:xfrm>
            <a:off x="6614160" y="0"/>
            <a:ext cx="557784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a:solidFill>
                <a:schemeClr val="tx1"/>
              </a:solidFill>
            </a:endParaRPr>
          </a:p>
        </p:txBody>
      </p:sp>
      <p:sp>
        <p:nvSpPr>
          <p:cNvPr id="22" name="Rectangle 21">
            <a:extLst>
              <a:ext uri="{FF2B5EF4-FFF2-40B4-BE49-F238E27FC236}">
                <a16:creationId xmlns:a16="http://schemas.microsoft.com/office/drawing/2014/main" id="{0F1DB9A8-CFC3-43D6-97EF-9821CEC4EB86}"/>
              </a:ext>
            </a:extLst>
          </p:cNvPr>
          <p:cNvSpPr/>
          <p:nvPr userDrawn="1"/>
        </p:nvSpPr>
        <p:spPr>
          <a:xfrm>
            <a:off x="7394606" y="2098115"/>
            <a:ext cx="3504111" cy="1491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a:solidFill>
                <a:schemeClr val="tx1"/>
              </a:solidFill>
            </a:endParaRPr>
          </a:p>
        </p:txBody>
      </p:sp>
      <p:sp>
        <p:nvSpPr>
          <p:cNvPr id="2" name="Title 1">
            <a:extLst>
              <a:ext uri="{FF2B5EF4-FFF2-40B4-BE49-F238E27FC236}">
                <a16:creationId xmlns:a16="http://schemas.microsoft.com/office/drawing/2014/main" id="{F54A5564-B0D4-4D90-A4B6-A0C3339E8668}"/>
              </a:ext>
            </a:extLst>
          </p:cNvPr>
          <p:cNvSpPr>
            <a:spLocks noGrp="1"/>
          </p:cNvSpPr>
          <p:nvPr>
            <p:ph type="title"/>
          </p:nvPr>
        </p:nvSpPr>
        <p:spPr>
          <a:xfrm>
            <a:off x="839788" y="2097088"/>
            <a:ext cx="4932362" cy="1735772"/>
          </a:xfrm>
        </p:spPr>
        <p:txBody>
          <a:bodyPr anchor="t">
            <a:normAutofit/>
          </a:bodyPr>
          <a:lstStyle>
            <a:lvl1pPr>
              <a:defRPr cap="all" baseline="0">
                <a:solidFill>
                  <a:schemeClr val="tx2"/>
                </a:solidFill>
              </a:defRPr>
            </a:lvl1pPr>
          </a:lstStyle>
          <a:p>
            <a:r>
              <a:rPr lang="en-GB" noProof="0"/>
              <a:t>Click to edit Master title style</a:t>
            </a:r>
            <a:endParaRPr lang="nb-NO" noProof="0"/>
          </a:p>
        </p:txBody>
      </p:sp>
      <p:grpSp>
        <p:nvGrpSpPr>
          <p:cNvPr id="15" name="Group 14">
            <a:extLst>
              <a:ext uri="{FF2B5EF4-FFF2-40B4-BE49-F238E27FC236}">
                <a16:creationId xmlns:a16="http://schemas.microsoft.com/office/drawing/2014/main" id="{3289A2E8-3D65-441A-A338-504F33981BA4}"/>
              </a:ext>
            </a:extLst>
          </p:cNvPr>
          <p:cNvGrpSpPr/>
          <p:nvPr userDrawn="1"/>
        </p:nvGrpSpPr>
        <p:grpSpPr>
          <a:xfrm rot="5400000">
            <a:off x="8863209" y="1651018"/>
            <a:ext cx="580592" cy="2334362"/>
            <a:chOff x="11870514" y="244569"/>
            <a:chExt cx="151518" cy="609202"/>
          </a:xfrm>
        </p:grpSpPr>
        <p:sp>
          <p:nvSpPr>
            <p:cNvPr id="16" name="Freeform: Shape 15">
              <a:extLst>
                <a:ext uri="{FF2B5EF4-FFF2-40B4-BE49-F238E27FC236}">
                  <a16:creationId xmlns:a16="http://schemas.microsoft.com/office/drawing/2014/main" id="{5402AC29-8A61-4CA4-8CB8-4BC3EC56A3B9}"/>
                </a:ext>
              </a:extLst>
            </p:cNvPr>
            <p:cNvSpPr/>
            <p:nvPr/>
          </p:nvSpPr>
          <p:spPr>
            <a:xfrm rot="16200000">
              <a:off x="11641672" y="473411"/>
              <a:ext cx="609202" cy="151518"/>
            </a:xfrm>
            <a:custGeom>
              <a:avLst/>
              <a:gdLst>
                <a:gd name="connsiteX0" fmla="*/ 413946 w 609202"/>
                <a:gd name="connsiteY0" fmla="*/ 49664 h 151518"/>
                <a:gd name="connsiteX1" fmla="*/ 384494 w 609202"/>
                <a:gd name="connsiteY1" fmla="*/ 125217 h 151518"/>
                <a:gd name="connsiteX2" fmla="*/ 354820 w 609202"/>
                <a:gd name="connsiteY2" fmla="*/ 49664 h 151518"/>
                <a:gd name="connsiteX3" fmla="*/ 331666 w 609202"/>
                <a:gd name="connsiteY3" fmla="*/ 49664 h 151518"/>
                <a:gd name="connsiteX4" fmla="*/ 372910 w 609202"/>
                <a:gd name="connsiteY4" fmla="*/ 147314 h 151518"/>
                <a:gd name="connsiteX5" fmla="*/ 393955 w 609202"/>
                <a:gd name="connsiteY5" fmla="*/ 147314 h 151518"/>
                <a:gd name="connsiteX6" fmla="*/ 435214 w 609202"/>
                <a:gd name="connsiteY6" fmla="*/ 49665 h 151518"/>
                <a:gd name="connsiteX7" fmla="*/ 297359 w 609202"/>
                <a:gd name="connsiteY7" fmla="*/ 49664 h 151518"/>
                <a:gd name="connsiteX8" fmla="*/ 297359 w 609202"/>
                <a:gd name="connsiteY8" fmla="*/ 101215 h 151518"/>
                <a:gd name="connsiteX9" fmla="*/ 272528 w 609202"/>
                <a:gd name="connsiteY9" fmla="*/ 130474 h 151518"/>
                <a:gd name="connsiteX10" fmla="*/ 247695 w 609202"/>
                <a:gd name="connsiteY10" fmla="*/ 101215 h 151518"/>
                <a:gd name="connsiteX11" fmla="*/ 247695 w 609202"/>
                <a:gd name="connsiteY11" fmla="*/ 49664 h 151518"/>
                <a:gd name="connsiteX12" fmla="*/ 227067 w 609202"/>
                <a:gd name="connsiteY12" fmla="*/ 49664 h 151518"/>
                <a:gd name="connsiteX13" fmla="*/ 227067 w 609202"/>
                <a:gd name="connsiteY13" fmla="*/ 102060 h 151518"/>
                <a:gd name="connsiteX14" fmla="*/ 272528 w 609202"/>
                <a:gd name="connsiteY14" fmla="*/ 149408 h 151518"/>
                <a:gd name="connsiteX15" fmla="*/ 317989 w 609202"/>
                <a:gd name="connsiteY15" fmla="*/ 102060 h 151518"/>
                <a:gd name="connsiteX16" fmla="*/ 317989 w 609202"/>
                <a:gd name="connsiteY16" fmla="*/ 49664 h 151518"/>
                <a:gd name="connsiteX17" fmla="*/ 162877 w 609202"/>
                <a:gd name="connsiteY17" fmla="*/ 47347 h 151518"/>
                <a:gd name="connsiteX18" fmla="*/ 140599 w 609202"/>
                <a:gd name="connsiteY18" fmla="*/ 52442 h 151518"/>
                <a:gd name="connsiteX19" fmla="*/ 112797 w 609202"/>
                <a:gd name="connsiteY19" fmla="*/ 97428 h 151518"/>
                <a:gd name="connsiteX20" fmla="*/ 156150 w 609202"/>
                <a:gd name="connsiteY20" fmla="*/ 151519 h 151518"/>
                <a:gd name="connsiteX21" fmla="*/ 168567 w 609202"/>
                <a:gd name="connsiteY21" fmla="*/ 144568 h 151518"/>
                <a:gd name="connsiteX22" fmla="*/ 197603 w 609202"/>
                <a:gd name="connsiteY22" fmla="*/ 119528 h 151518"/>
                <a:gd name="connsiteX23" fmla="*/ 212335 w 609202"/>
                <a:gd name="connsiteY23" fmla="*/ 96596 h 151518"/>
                <a:gd name="connsiteX24" fmla="*/ 162879 w 609202"/>
                <a:gd name="connsiteY24" fmla="*/ 47348 h 151518"/>
                <a:gd name="connsiteX25" fmla="*/ 184768 w 609202"/>
                <a:gd name="connsiteY25" fmla="*/ 112799 h 151518"/>
                <a:gd name="connsiteX26" fmla="*/ 168567 w 609202"/>
                <a:gd name="connsiteY26" fmla="*/ 129419 h 151518"/>
                <a:gd name="connsiteX27" fmla="*/ 161200 w 609202"/>
                <a:gd name="connsiteY27" fmla="*/ 133844 h 151518"/>
                <a:gd name="connsiteX28" fmla="*/ 132373 w 609202"/>
                <a:gd name="connsiteY28" fmla="*/ 100591 h 151518"/>
                <a:gd name="connsiteX29" fmla="*/ 162671 w 609202"/>
                <a:gd name="connsiteY29" fmla="*/ 70070 h 151518"/>
                <a:gd name="connsiteX30" fmla="*/ 192557 w 609202"/>
                <a:gd name="connsiteY30" fmla="*/ 100182 h 151518"/>
                <a:gd name="connsiteX31" fmla="*/ 192557 w 609202"/>
                <a:gd name="connsiteY31" fmla="*/ 100182 h 151518"/>
                <a:gd name="connsiteX32" fmla="*/ 192553 w 609202"/>
                <a:gd name="connsiteY32" fmla="*/ 100589 h 151518"/>
                <a:gd name="connsiteX33" fmla="*/ 184772 w 609202"/>
                <a:gd name="connsiteY33" fmla="*/ 112797 h 151518"/>
                <a:gd name="connsiteX34" fmla="*/ 51342 w 609202"/>
                <a:gd name="connsiteY34" fmla="*/ 47347 h 151518"/>
                <a:gd name="connsiteX35" fmla="*/ 20198 w 609202"/>
                <a:gd name="connsiteY35" fmla="*/ 59555 h 151518"/>
                <a:gd name="connsiteX36" fmla="*/ 19991 w 609202"/>
                <a:gd name="connsiteY36" fmla="*/ 0 h 151518"/>
                <a:gd name="connsiteX37" fmla="*/ 0 w 609202"/>
                <a:gd name="connsiteY37" fmla="*/ 0 h 151518"/>
                <a:gd name="connsiteX38" fmla="*/ 0 w 609202"/>
                <a:gd name="connsiteY38" fmla="*/ 147315 h 151518"/>
                <a:gd name="connsiteX39" fmla="*/ 20630 w 609202"/>
                <a:gd name="connsiteY39" fmla="*/ 147315 h 151518"/>
                <a:gd name="connsiteX40" fmla="*/ 20630 w 609202"/>
                <a:gd name="connsiteY40" fmla="*/ 137422 h 151518"/>
                <a:gd name="connsiteX41" fmla="*/ 51344 w 609202"/>
                <a:gd name="connsiteY41" fmla="*/ 149200 h 151518"/>
                <a:gd name="connsiteX42" fmla="*/ 100175 w 609202"/>
                <a:gd name="connsiteY42" fmla="*/ 98273 h 151518"/>
                <a:gd name="connsiteX43" fmla="*/ 51342 w 609202"/>
                <a:gd name="connsiteY43" fmla="*/ 47347 h 151518"/>
                <a:gd name="connsiteX44" fmla="*/ 49664 w 609202"/>
                <a:gd name="connsiteY44" fmla="*/ 130266 h 151518"/>
                <a:gd name="connsiteX45" fmla="*/ 20198 w 609202"/>
                <a:gd name="connsiteY45" fmla="*/ 98275 h 151518"/>
                <a:gd name="connsiteX46" fmla="*/ 49664 w 609202"/>
                <a:gd name="connsiteY46" fmla="*/ 66284 h 151518"/>
                <a:gd name="connsiteX47" fmla="*/ 79131 w 609202"/>
                <a:gd name="connsiteY47" fmla="*/ 98276 h 151518"/>
                <a:gd name="connsiteX48" fmla="*/ 49662 w 609202"/>
                <a:gd name="connsiteY48" fmla="*/ 130264 h 151518"/>
                <a:gd name="connsiteX49" fmla="*/ 609203 w 609202"/>
                <a:gd name="connsiteY49" fmla="*/ 49664 h 151518"/>
                <a:gd name="connsiteX50" fmla="*/ 579321 w 609202"/>
                <a:gd name="connsiteY50" fmla="*/ 49664 h 151518"/>
                <a:gd name="connsiteX51" fmla="*/ 579099 w 609202"/>
                <a:gd name="connsiteY51" fmla="*/ 0 h 151518"/>
                <a:gd name="connsiteX52" fmla="*/ 559107 w 609202"/>
                <a:gd name="connsiteY52" fmla="*/ 0 h 151518"/>
                <a:gd name="connsiteX53" fmla="*/ 559107 w 609202"/>
                <a:gd name="connsiteY53" fmla="*/ 49664 h 151518"/>
                <a:gd name="connsiteX54" fmla="*/ 545369 w 609202"/>
                <a:gd name="connsiteY54" fmla="*/ 49664 h 151518"/>
                <a:gd name="connsiteX55" fmla="*/ 545369 w 609202"/>
                <a:gd name="connsiteY55" fmla="*/ 67545 h 151518"/>
                <a:gd name="connsiteX56" fmla="*/ 559107 w 609202"/>
                <a:gd name="connsiteY56" fmla="*/ 67545 h 151518"/>
                <a:gd name="connsiteX57" fmla="*/ 559107 w 609202"/>
                <a:gd name="connsiteY57" fmla="*/ 147314 h 151518"/>
                <a:gd name="connsiteX58" fmla="*/ 579529 w 609202"/>
                <a:gd name="connsiteY58" fmla="*/ 147314 h 151518"/>
                <a:gd name="connsiteX59" fmla="*/ 579321 w 609202"/>
                <a:gd name="connsiteY59" fmla="*/ 67545 h 151518"/>
                <a:gd name="connsiteX60" fmla="*/ 609203 w 609202"/>
                <a:gd name="connsiteY60" fmla="*/ 67545 h 15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9202" h="151518">
                  <a:moveTo>
                    <a:pt x="413946" y="49664"/>
                  </a:moveTo>
                  <a:lnTo>
                    <a:pt x="384494" y="125217"/>
                  </a:lnTo>
                  <a:lnTo>
                    <a:pt x="354820" y="49664"/>
                  </a:lnTo>
                  <a:lnTo>
                    <a:pt x="331666" y="49664"/>
                  </a:lnTo>
                  <a:lnTo>
                    <a:pt x="372910" y="147314"/>
                  </a:lnTo>
                  <a:lnTo>
                    <a:pt x="393955" y="147314"/>
                  </a:lnTo>
                  <a:lnTo>
                    <a:pt x="435214" y="49665"/>
                  </a:lnTo>
                  <a:close/>
                  <a:moveTo>
                    <a:pt x="297359" y="49664"/>
                  </a:moveTo>
                  <a:lnTo>
                    <a:pt x="297359" y="101215"/>
                  </a:lnTo>
                  <a:cubicBezTo>
                    <a:pt x="297359" y="119735"/>
                    <a:pt x="288314" y="130474"/>
                    <a:pt x="272528" y="130474"/>
                  </a:cubicBezTo>
                  <a:cubicBezTo>
                    <a:pt x="256742" y="130474"/>
                    <a:pt x="247695" y="119735"/>
                    <a:pt x="247695" y="101215"/>
                  </a:cubicBezTo>
                  <a:lnTo>
                    <a:pt x="247695" y="49664"/>
                  </a:lnTo>
                  <a:lnTo>
                    <a:pt x="227067" y="49664"/>
                  </a:lnTo>
                  <a:lnTo>
                    <a:pt x="227067" y="102060"/>
                  </a:lnTo>
                  <a:cubicBezTo>
                    <a:pt x="227067" y="131111"/>
                    <a:pt x="244533" y="149408"/>
                    <a:pt x="272528" y="149408"/>
                  </a:cubicBezTo>
                  <a:cubicBezTo>
                    <a:pt x="300523" y="149408"/>
                    <a:pt x="317989" y="131111"/>
                    <a:pt x="317989" y="102060"/>
                  </a:cubicBezTo>
                  <a:lnTo>
                    <a:pt x="317989" y="49664"/>
                  </a:lnTo>
                  <a:close/>
                  <a:moveTo>
                    <a:pt x="162877" y="47347"/>
                  </a:moveTo>
                  <a:cubicBezTo>
                    <a:pt x="155160" y="47330"/>
                    <a:pt x="147541" y="49072"/>
                    <a:pt x="140599" y="52442"/>
                  </a:cubicBezTo>
                  <a:cubicBezTo>
                    <a:pt x="123437" y="60827"/>
                    <a:pt x="112621" y="78328"/>
                    <a:pt x="112797" y="97428"/>
                  </a:cubicBezTo>
                  <a:cubicBezTo>
                    <a:pt x="112797" y="122482"/>
                    <a:pt x="136159" y="151519"/>
                    <a:pt x="156150" y="151519"/>
                  </a:cubicBezTo>
                  <a:cubicBezTo>
                    <a:pt x="161205" y="151479"/>
                    <a:pt x="165890" y="148857"/>
                    <a:pt x="168567" y="144568"/>
                  </a:cubicBezTo>
                  <a:cubicBezTo>
                    <a:pt x="176781" y="132150"/>
                    <a:pt x="185200" y="125009"/>
                    <a:pt x="197603" y="119528"/>
                  </a:cubicBezTo>
                  <a:cubicBezTo>
                    <a:pt x="209187" y="114478"/>
                    <a:pt x="212335" y="109428"/>
                    <a:pt x="212335" y="96596"/>
                  </a:cubicBezTo>
                  <a:cubicBezTo>
                    <a:pt x="212335" y="68809"/>
                    <a:pt x="190667" y="47348"/>
                    <a:pt x="162879" y="47348"/>
                  </a:cubicBezTo>
                  <a:close/>
                  <a:moveTo>
                    <a:pt x="184768" y="112799"/>
                  </a:moveTo>
                  <a:cubicBezTo>
                    <a:pt x="176348" y="118057"/>
                    <a:pt x="171938" y="122483"/>
                    <a:pt x="168567" y="129419"/>
                  </a:cubicBezTo>
                  <a:cubicBezTo>
                    <a:pt x="167173" y="132194"/>
                    <a:pt x="164305" y="133917"/>
                    <a:pt x="161200" y="133844"/>
                  </a:cubicBezTo>
                  <a:cubicBezTo>
                    <a:pt x="147729" y="133844"/>
                    <a:pt x="132373" y="116156"/>
                    <a:pt x="132373" y="100591"/>
                  </a:cubicBezTo>
                  <a:cubicBezTo>
                    <a:pt x="132373" y="83125"/>
                    <a:pt x="145204" y="70070"/>
                    <a:pt x="162671" y="70070"/>
                  </a:cubicBezTo>
                  <a:cubicBezTo>
                    <a:pt x="179239" y="70133"/>
                    <a:pt x="192619" y="83614"/>
                    <a:pt x="192557" y="100182"/>
                  </a:cubicBezTo>
                  <a:lnTo>
                    <a:pt x="192557" y="100182"/>
                  </a:lnTo>
                  <a:cubicBezTo>
                    <a:pt x="192556" y="100317"/>
                    <a:pt x="192554" y="100452"/>
                    <a:pt x="192553" y="100589"/>
                  </a:cubicBezTo>
                  <a:cubicBezTo>
                    <a:pt x="192553" y="106053"/>
                    <a:pt x="190667" y="109217"/>
                    <a:pt x="184772" y="112797"/>
                  </a:cubicBezTo>
                  <a:close/>
                  <a:moveTo>
                    <a:pt x="51342" y="47347"/>
                  </a:moveTo>
                  <a:cubicBezTo>
                    <a:pt x="39770" y="47223"/>
                    <a:pt x="28603" y="51600"/>
                    <a:pt x="20198" y="59555"/>
                  </a:cubicBezTo>
                  <a:lnTo>
                    <a:pt x="19991" y="0"/>
                  </a:lnTo>
                  <a:lnTo>
                    <a:pt x="0" y="0"/>
                  </a:lnTo>
                  <a:lnTo>
                    <a:pt x="0" y="147315"/>
                  </a:lnTo>
                  <a:lnTo>
                    <a:pt x="20630" y="147315"/>
                  </a:lnTo>
                  <a:lnTo>
                    <a:pt x="20630" y="137422"/>
                  </a:lnTo>
                  <a:cubicBezTo>
                    <a:pt x="29061" y="145007"/>
                    <a:pt x="40002" y="149203"/>
                    <a:pt x="51344" y="149200"/>
                  </a:cubicBezTo>
                  <a:cubicBezTo>
                    <a:pt x="79130" y="149200"/>
                    <a:pt x="100175" y="127100"/>
                    <a:pt x="100175" y="98273"/>
                  </a:cubicBezTo>
                  <a:cubicBezTo>
                    <a:pt x="100175" y="69445"/>
                    <a:pt x="79130" y="47347"/>
                    <a:pt x="51342" y="47347"/>
                  </a:cubicBezTo>
                  <a:close/>
                  <a:moveTo>
                    <a:pt x="49664" y="130266"/>
                  </a:moveTo>
                  <a:cubicBezTo>
                    <a:pt x="32822" y="130266"/>
                    <a:pt x="20198" y="116587"/>
                    <a:pt x="20198" y="98275"/>
                  </a:cubicBezTo>
                  <a:cubicBezTo>
                    <a:pt x="20198" y="79962"/>
                    <a:pt x="32822" y="66284"/>
                    <a:pt x="49664" y="66284"/>
                  </a:cubicBezTo>
                  <a:cubicBezTo>
                    <a:pt x="66505" y="66284"/>
                    <a:pt x="79131" y="79962"/>
                    <a:pt x="79131" y="98276"/>
                  </a:cubicBezTo>
                  <a:cubicBezTo>
                    <a:pt x="79131" y="116590"/>
                    <a:pt x="66505" y="130264"/>
                    <a:pt x="49662" y="130264"/>
                  </a:cubicBezTo>
                  <a:close/>
                  <a:moveTo>
                    <a:pt x="609203" y="49664"/>
                  </a:moveTo>
                  <a:lnTo>
                    <a:pt x="579321" y="49664"/>
                  </a:lnTo>
                  <a:lnTo>
                    <a:pt x="579099" y="0"/>
                  </a:lnTo>
                  <a:lnTo>
                    <a:pt x="559107" y="0"/>
                  </a:lnTo>
                  <a:lnTo>
                    <a:pt x="559107" y="49664"/>
                  </a:lnTo>
                  <a:lnTo>
                    <a:pt x="545369" y="49664"/>
                  </a:lnTo>
                  <a:lnTo>
                    <a:pt x="545369" y="67545"/>
                  </a:lnTo>
                  <a:lnTo>
                    <a:pt x="559107" y="67545"/>
                  </a:lnTo>
                  <a:lnTo>
                    <a:pt x="559107" y="147314"/>
                  </a:lnTo>
                  <a:lnTo>
                    <a:pt x="579529" y="147314"/>
                  </a:lnTo>
                  <a:lnTo>
                    <a:pt x="579321" y="67545"/>
                  </a:lnTo>
                  <a:lnTo>
                    <a:pt x="609203" y="67545"/>
                  </a:lnTo>
                  <a:close/>
                </a:path>
              </a:pathLst>
            </a:custGeom>
            <a:solidFill>
              <a:schemeClr val="tx2"/>
            </a:solidFill>
            <a:ln w="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CE4A25F-66AD-4588-A78A-F5842EE74531}"/>
                </a:ext>
              </a:extLst>
            </p:cNvPr>
            <p:cNvSpPr/>
            <p:nvPr/>
          </p:nvSpPr>
          <p:spPr>
            <a:xfrm rot="16200000">
              <a:off x="11921301" y="313678"/>
              <a:ext cx="96119" cy="101875"/>
            </a:xfrm>
            <a:custGeom>
              <a:avLst/>
              <a:gdLst>
                <a:gd name="connsiteX0" fmla="*/ 95810 w 96119"/>
                <a:gd name="connsiteY0" fmla="*/ 56965 h 101875"/>
                <a:gd name="connsiteX1" fmla="*/ 20362 w 96119"/>
                <a:gd name="connsiteY1" fmla="*/ 56965 h 101875"/>
                <a:gd name="connsiteX2" fmla="*/ 34212 w 96119"/>
                <a:gd name="connsiteY2" fmla="*/ 79118 h 101875"/>
                <a:gd name="connsiteX3" fmla="*/ 48915 w 96119"/>
                <a:gd name="connsiteY3" fmla="*/ 82727 h 101875"/>
                <a:gd name="connsiteX4" fmla="*/ 73366 w 96119"/>
                <a:gd name="connsiteY4" fmla="*/ 75426 h 101875"/>
                <a:gd name="connsiteX5" fmla="*/ 79556 w 96119"/>
                <a:gd name="connsiteY5" fmla="*/ 69472 h 101875"/>
                <a:gd name="connsiteX6" fmla="*/ 93354 w 96119"/>
                <a:gd name="connsiteY6" fmla="*/ 82930 h 101875"/>
                <a:gd name="connsiteX7" fmla="*/ 83867 w 96119"/>
                <a:gd name="connsiteY7" fmla="*/ 91638 h 101875"/>
                <a:gd name="connsiteX8" fmla="*/ 46091 w 96119"/>
                <a:gd name="connsiteY8" fmla="*/ 101759 h 101875"/>
                <a:gd name="connsiteX9" fmla="*/ 16168 w 96119"/>
                <a:gd name="connsiteY9" fmla="*/ 89716 h 101875"/>
                <a:gd name="connsiteX10" fmla="*/ 506 w 96119"/>
                <a:gd name="connsiteY10" fmla="*/ 58160 h 101875"/>
                <a:gd name="connsiteX11" fmla="*/ 5248 w 96119"/>
                <a:gd name="connsiteY11" fmla="*/ 26756 h 101875"/>
                <a:gd name="connsiteX12" fmla="*/ 40827 w 96119"/>
                <a:gd name="connsiteY12" fmla="*/ 738 h 101875"/>
                <a:gd name="connsiteX13" fmla="*/ 70343 w 96119"/>
                <a:gd name="connsiteY13" fmla="*/ 4817 h 101875"/>
                <a:gd name="connsiteX14" fmla="*/ 94209 w 96119"/>
                <a:gd name="connsiteY14" fmla="*/ 35590 h 101875"/>
                <a:gd name="connsiteX15" fmla="*/ 95810 w 96119"/>
                <a:gd name="connsiteY15" fmla="*/ 56965 h 101875"/>
                <a:gd name="connsiteX16" fmla="*/ 20776 w 96119"/>
                <a:gd name="connsiteY16" fmla="*/ 40423 h 101875"/>
                <a:gd name="connsiteX17" fmla="*/ 74793 w 96119"/>
                <a:gd name="connsiteY17" fmla="*/ 40423 h 101875"/>
                <a:gd name="connsiteX18" fmla="*/ 50253 w 96119"/>
                <a:gd name="connsiteY18" fmla="*/ 17857 h 101875"/>
                <a:gd name="connsiteX19" fmla="*/ 20776 w 96119"/>
                <a:gd name="connsiteY19" fmla="*/ 40423 h 1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119" h="101875">
                  <a:moveTo>
                    <a:pt x="95810" y="56965"/>
                  </a:moveTo>
                  <a:lnTo>
                    <a:pt x="20362" y="56965"/>
                  </a:lnTo>
                  <a:cubicBezTo>
                    <a:pt x="21886" y="66442"/>
                    <a:pt x="25653" y="74318"/>
                    <a:pt x="34212" y="79118"/>
                  </a:cubicBezTo>
                  <a:cubicBezTo>
                    <a:pt x="38729" y="81545"/>
                    <a:pt x="43788" y="82786"/>
                    <a:pt x="48915" y="82727"/>
                  </a:cubicBezTo>
                  <a:cubicBezTo>
                    <a:pt x="57811" y="82850"/>
                    <a:pt x="66195" y="81075"/>
                    <a:pt x="73366" y="75426"/>
                  </a:cubicBezTo>
                  <a:cubicBezTo>
                    <a:pt x="75532" y="73550"/>
                    <a:pt x="77598" y="71563"/>
                    <a:pt x="79556" y="69472"/>
                  </a:cubicBezTo>
                  <a:lnTo>
                    <a:pt x="93354" y="82930"/>
                  </a:lnTo>
                  <a:cubicBezTo>
                    <a:pt x="90598" y="86246"/>
                    <a:pt x="87407" y="89175"/>
                    <a:pt x="83867" y="91638"/>
                  </a:cubicBezTo>
                  <a:cubicBezTo>
                    <a:pt x="72486" y="99593"/>
                    <a:pt x="59751" y="102519"/>
                    <a:pt x="46091" y="101759"/>
                  </a:cubicBezTo>
                  <a:cubicBezTo>
                    <a:pt x="35014" y="101373"/>
                    <a:pt x="24424" y="97111"/>
                    <a:pt x="16168" y="89716"/>
                  </a:cubicBezTo>
                  <a:cubicBezTo>
                    <a:pt x="6826" y="81316"/>
                    <a:pt x="1889" y="70591"/>
                    <a:pt x="506" y="58160"/>
                  </a:cubicBezTo>
                  <a:cubicBezTo>
                    <a:pt x="-933" y="47454"/>
                    <a:pt x="712" y="36560"/>
                    <a:pt x="5248" y="26756"/>
                  </a:cubicBezTo>
                  <a:cubicBezTo>
                    <a:pt x="12466" y="11681"/>
                    <a:pt x="24591" y="3239"/>
                    <a:pt x="40827" y="738"/>
                  </a:cubicBezTo>
                  <a:cubicBezTo>
                    <a:pt x="50850" y="-1030"/>
                    <a:pt x="61175" y="397"/>
                    <a:pt x="70343" y="4817"/>
                  </a:cubicBezTo>
                  <a:cubicBezTo>
                    <a:pt x="83187" y="11156"/>
                    <a:pt x="90642" y="21889"/>
                    <a:pt x="94209" y="35590"/>
                  </a:cubicBezTo>
                  <a:cubicBezTo>
                    <a:pt x="95990" y="42566"/>
                    <a:pt x="96532" y="49801"/>
                    <a:pt x="95810" y="56965"/>
                  </a:cubicBezTo>
                  <a:close/>
                  <a:moveTo>
                    <a:pt x="20776" y="40423"/>
                  </a:moveTo>
                  <a:lnTo>
                    <a:pt x="74793" y="40423"/>
                  </a:lnTo>
                  <a:cubicBezTo>
                    <a:pt x="73059" y="28002"/>
                    <a:pt x="62776" y="18546"/>
                    <a:pt x="50253" y="17857"/>
                  </a:cubicBezTo>
                  <a:cubicBezTo>
                    <a:pt x="34544" y="16956"/>
                    <a:pt x="23456" y="25443"/>
                    <a:pt x="20776" y="40423"/>
                  </a:cubicBezTo>
                  <a:close/>
                </a:path>
              </a:pathLst>
            </a:custGeom>
            <a:solidFill>
              <a:schemeClr val="tx2"/>
            </a:solidFill>
            <a:ln w="264" cap="flat">
              <a:noFill/>
              <a:prstDash val="solid"/>
              <a:miter/>
            </a:ln>
          </p:spPr>
          <p:txBody>
            <a:bodyPr rtlCol="0" anchor="ctr"/>
            <a:lstStyle/>
            <a:p>
              <a:endParaRPr lang="en-US"/>
            </a:p>
          </p:txBody>
        </p:sp>
      </p:grpSp>
      <p:sp>
        <p:nvSpPr>
          <p:cNvPr id="19" name="Freeform: Shape 18">
            <a:extLst>
              <a:ext uri="{FF2B5EF4-FFF2-40B4-BE49-F238E27FC236}">
                <a16:creationId xmlns:a16="http://schemas.microsoft.com/office/drawing/2014/main" id="{E925D05D-BADA-4CE4-87CE-12CFA0CDE945}"/>
              </a:ext>
            </a:extLst>
          </p:cNvPr>
          <p:cNvSpPr/>
          <p:nvPr userDrawn="1"/>
        </p:nvSpPr>
        <p:spPr>
          <a:xfrm>
            <a:off x="9431648" y="435724"/>
            <a:ext cx="1226389" cy="1226389"/>
          </a:xfrm>
          <a:custGeom>
            <a:avLst/>
            <a:gdLst>
              <a:gd name="connsiteX0" fmla="*/ 2139813 w 2139848"/>
              <a:gd name="connsiteY0" fmla="*/ 1069841 h 2139848"/>
              <a:gd name="connsiteX1" fmla="*/ 1069898 w 2139848"/>
              <a:gd name="connsiteY1" fmla="*/ 2139775 h 2139848"/>
              <a:gd name="connsiteX2" fmla="*/ -36 w 2139848"/>
              <a:gd name="connsiteY2" fmla="*/ 1069860 h 2139848"/>
              <a:gd name="connsiteX3" fmla="*/ 1069879 w 2139848"/>
              <a:gd name="connsiteY3" fmla="*/ -73 h 2139848"/>
              <a:gd name="connsiteX4" fmla="*/ 1069898 w 2139848"/>
              <a:gd name="connsiteY4" fmla="*/ -73 h 2139848"/>
              <a:gd name="connsiteX5" fmla="*/ 2139813 w 2139848"/>
              <a:gd name="connsiteY5" fmla="*/ 1069841 h 213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9848" h="2139848">
                <a:moveTo>
                  <a:pt x="2139813" y="1069841"/>
                </a:moveTo>
                <a:cubicBezTo>
                  <a:pt x="2139818" y="1660744"/>
                  <a:pt x="1660801" y="2139770"/>
                  <a:pt x="1069898" y="2139775"/>
                </a:cubicBezTo>
                <a:cubicBezTo>
                  <a:pt x="478995" y="2139780"/>
                  <a:pt x="-30" y="1660763"/>
                  <a:pt x="-36" y="1069860"/>
                </a:cubicBezTo>
                <a:cubicBezTo>
                  <a:pt x="-41" y="478958"/>
                  <a:pt x="478976" y="-68"/>
                  <a:pt x="1069879" y="-73"/>
                </a:cubicBezTo>
                <a:cubicBezTo>
                  <a:pt x="1069886" y="-73"/>
                  <a:pt x="1069892" y="-73"/>
                  <a:pt x="1069898" y="-73"/>
                </a:cubicBezTo>
                <a:cubicBezTo>
                  <a:pt x="1660796" y="-73"/>
                  <a:pt x="2139813" y="478944"/>
                  <a:pt x="2139813" y="1069841"/>
                </a:cubicBezTo>
              </a:path>
            </a:pathLst>
          </a:custGeom>
          <a:solidFill>
            <a:schemeClr val="accent3"/>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634EFC9-9435-416F-9F71-9ACD804CE676}"/>
              </a:ext>
            </a:extLst>
          </p:cNvPr>
          <p:cNvSpPr/>
          <p:nvPr userDrawn="1"/>
        </p:nvSpPr>
        <p:spPr>
          <a:xfrm>
            <a:off x="7738557" y="4327499"/>
            <a:ext cx="1296934" cy="656431"/>
          </a:xfrm>
          <a:custGeom>
            <a:avLst/>
            <a:gdLst>
              <a:gd name="connsiteX0" fmla="*/ 2605793 w 2605792"/>
              <a:gd name="connsiteY0" fmla="*/ 1318898 h 1318898"/>
              <a:gd name="connsiteX1" fmla="*/ 2234098 w 2605792"/>
              <a:gd name="connsiteY1" fmla="*/ 663483 h 1318898"/>
              <a:gd name="connsiteX2" fmla="*/ 1862404 w 2605792"/>
              <a:gd name="connsiteY2" fmla="*/ 8058 h 1318898"/>
              <a:gd name="connsiteX3" fmla="*/ 1480642 w 2605792"/>
              <a:gd name="connsiteY3" fmla="*/ 657663 h 1318898"/>
              <a:gd name="connsiteX4" fmla="*/ 1305497 w 2605792"/>
              <a:gd name="connsiteY4" fmla="*/ 955691 h 1318898"/>
              <a:gd name="connsiteX5" fmla="*/ 1135218 w 2605792"/>
              <a:gd name="connsiteY5" fmla="*/ 655416 h 1318898"/>
              <a:gd name="connsiteX6" fmla="*/ 763524 w 2605792"/>
              <a:gd name="connsiteY6" fmla="*/ 0 h 1318898"/>
              <a:gd name="connsiteX7" fmla="*/ 381762 w 2605792"/>
              <a:gd name="connsiteY7" fmla="*/ 649605 h 1318898"/>
              <a:gd name="connsiteX8" fmla="*/ 0 w 2605792"/>
              <a:gd name="connsiteY8" fmla="*/ 1299210 h 1318898"/>
              <a:gd name="connsiteX9" fmla="*/ 753456 w 2605792"/>
              <a:gd name="connsiteY9" fmla="*/ 1305020 h 1318898"/>
              <a:gd name="connsiteX10" fmla="*/ 1506912 w 2605792"/>
              <a:gd name="connsiteY10" fmla="*/ 1310840 h 1318898"/>
              <a:gd name="connsiteX11" fmla="*/ 1506674 w 2605792"/>
              <a:gd name="connsiteY11" fmla="*/ 1310412 h 1318898"/>
              <a:gd name="connsiteX12" fmla="*/ 1852336 w 2605792"/>
              <a:gd name="connsiteY12" fmla="*/ 1313088 h 1318898"/>
              <a:gd name="connsiteX13" fmla="*/ 2605793 w 2605792"/>
              <a:gd name="connsiteY13" fmla="*/ 1318898 h 131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5792" h="1318898">
                <a:moveTo>
                  <a:pt x="2605793" y="1318898"/>
                </a:moveTo>
                <a:lnTo>
                  <a:pt x="2234098" y="663483"/>
                </a:lnTo>
                <a:lnTo>
                  <a:pt x="1862404" y="8058"/>
                </a:lnTo>
                <a:lnTo>
                  <a:pt x="1480642" y="657663"/>
                </a:lnTo>
                <a:lnTo>
                  <a:pt x="1305497" y="955691"/>
                </a:lnTo>
                <a:lnTo>
                  <a:pt x="1135218" y="655416"/>
                </a:lnTo>
                <a:lnTo>
                  <a:pt x="763524" y="0"/>
                </a:lnTo>
                <a:lnTo>
                  <a:pt x="381762" y="649605"/>
                </a:lnTo>
                <a:lnTo>
                  <a:pt x="0" y="1299210"/>
                </a:lnTo>
                <a:lnTo>
                  <a:pt x="753456" y="1305020"/>
                </a:lnTo>
                <a:lnTo>
                  <a:pt x="1506912" y="1310840"/>
                </a:lnTo>
                <a:lnTo>
                  <a:pt x="1506674" y="1310412"/>
                </a:lnTo>
                <a:lnTo>
                  <a:pt x="1852336" y="1313088"/>
                </a:lnTo>
                <a:lnTo>
                  <a:pt x="2605793" y="1318898"/>
                </a:lnTo>
                <a:close/>
              </a:path>
            </a:pathLst>
          </a:custGeom>
          <a:solidFill>
            <a:schemeClr val="accent1"/>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DC051F08-BCC2-42B7-A7D2-2EF1738B42C5}"/>
              </a:ext>
            </a:extLst>
          </p:cNvPr>
          <p:cNvSpPr/>
          <p:nvPr userDrawn="1"/>
        </p:nvSpPr>
        <p:spPr>
          <a:xfrm>
            <a:off x="10241991" y="4688420"/>
            <a:ext cx="1546225" cy="1674896"/>
          </a:xfrm>
          <a:custGeom>
            <a:avLst/>
            <a:gdLst>
              <a:gd name="connsiteX0" fmla="*/ 1442050 w 2031330"/>
              <a:gd name="connsiteY0" fmla="*/ 1615462 h 2200369"/>
              <a:gd name="connsiteX1" fmla="*/ -36 w 2031330"/>
              <a:gd name="connsiteY1" fmla="*/ 2200296 h 2200369"/>
              <a:gd name="connsiteX2" fmla="*/ -36 w 2031330"/>
              <a:gd name="connsiteY2" fmla="*/ -73 h 2200369"/>
              <a:gd name="connsiteX3" fmla="*/ 2025646 w 2031330"/>
              <a:gd name="connsiteY3" fmla="*/ -73 h 2200369"/>
              <a:gd name="connsiteX4" fmla="*/ 2031295 w 2031330"/>
              <a:gd name="connsiteY4" fmla="*/ 172500 h 2200369"/>
              <a:gd name="connsiteX5" fmla="*/ 1442050 w 2031330"/>
              <a:gd name="connsiteY5" fmla="*/ 1615462 h 220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1330" h="2200369">
                <a:moveTo>
                  <a:pt x="1442050" y="1615462"/>
                </a:moveTo>
                <a:cubicBezTo>
                  <a:pt x="1063812" y="1991432"/>
                  <a:pt x="551738" y="2199097"/>
                  <a:pt x="-36" y="2200296"/>
                </a:cubicBezTo>
                <a:lnTo>
                  <a:pt x="-36" y="-73"/>
                </a:lnTo>
                <a:lnTo>
                  <a:pt x="2025646" y="-73"/>
                </a:lnTo>
                <a:cubicBezTo>
                  <a:pt x="2029456" y="52419"/>
                  <a:pt x="2031295" y="109026"/>
                  <a:pt x="2031295" y="172500"/>
                </a:cubicBezTo>
                <a:cubicBezTo>
                  <a:pt x="2031352" y="725150"/>
                  <a:pt x="1822011" y="1237671"/>
                  <a:pt x="1442050" y="1615462"/>
                </a:cubicBezTo>
                <a:close/>
              </a:path>
            </a:pathLst>
          </a:custGeom>
          <a:solidFill>
            <a:schemeClr val="accent2"/>
          </a:solidFill>
          <a:ln w="9525" cap="flat">
            <a:noFill/>
            <a:prstDash val="solid"/>
            <a:miter/>
          </a:ln>
        </p:spPr>
        <p:txBody>
          <a:bodyPr rtlCol="0" anchor="ctr"/>
          <a:lstStyle/>
          <a:p>
            <a:r>
              <a:rPr lang="nb-NO"/>
              <a:t> </a:t>
            </a:r>
            <a:endParaRPr lang="en-US"/>
          </a:p>
        </p:txBody>
      </p:sp>
      <p:sp>
        <p:nvSpPr>
          <p:cNvPr id="24" name="Text Placeholder 23">
            <a:extLst>
              <a:ext uri="{FF2B5EF4-FFF2-40B4-BE49-F238E27FC236}">
                <a16:creationId xmlns:a16="http://schemas.microsoft.com/office/drawing/2014/main" id="{AF8B88C5-A0B4-414C-9D05-FA001AC5BF1B}"/>
              </a:ext>
            </a:extLst>
          </p:cNvPr>
          <p:cNvSpPr>
            <a:spLocks noGrp="1"/>
          </p:cNvSpPr>
          <p:nvPr>
            <p:ph type="body" sz="quarter" idx="10"/>
          </p:nvPr>
        </p:nvSpPr>
        <p:spPr>
          <a:xfrm>
            <a:off x="839788" y="4522678"/>
            <a:ext cx="4932362" cy="496725"/>
          </a:xfrm>
        </p:spPr>
        <p:txBody>
          <a:bodyPr>
            <a:normAutofit/>
          </a:bodyPr>
          <a:lstStyle>
            <a:lvl1pPr marL="0" indent="0">
              <a:buNone/>
              <a:defRPr b="0">
                <a:solidFill>
                  <a:schemeClr val="tx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
        <p:nvSpPr>
          <p:cNvPr id="25" name="Text Placeholder 23">
            <a:extLst>
              <a:ext uri="{FF2B5EF4-FFF2-40B4-BE49-F238E27FC236}">
                <a16:creationId xmlns:a16="http://schemas.microsoft.com/office/drawing/2014/main" id="{A8E95EAD-4D11-408C-A543-78867EDAC11E}"/>
              </a:ext>
            </a:extLst>
          </p:cNvPr>
          <p:cNvSpPr>
            <a:spLocks noGrp="1"/>
          </p:cNvSpPr>
          <p:nvPr>
            <p:ph type="body" sz="quarter" idx="11"/>
          </p:nvPr>
        </p:nvSpPr>
        <p:spPr>
          <a:xfrm>
            <a:off x="852964" y="5403520"/>
            <a:ext cx="4919186" cy="797255"/>
          </a:xfrm>
        </p:spPr>
        <p:txBody>
          <a:bodyPr>
            <a:normAutofit/>
          </a:bodyPr>
          <a:lstStyle>
            <a:lvl1pPr marL="0" indent="0">
              <a:buNone/>
              <a:defRPr sz="1400">
                <a:solidFill>
                  <a:schemeClr val="tx2"/>
                </a:solidFill>
              </a:defRPr>
            </a:lvl1pPr>
          </a:lstStyle>
          <a:p>
            <a:pPr lvl="0"/>
            <a:r>
              <a:rPr lang="en-GB" noProof="0"/>
              <a:t>Click to edit Master text styles</a:t>
            </a:r>
          </a:p>
        </p:txBody>
      </p:sp>
    </p:spTree>
    <p:extLst>
      <p:ext uri="{BB962C8B-B14F-4D97-AF65-F5344CB8AC3E}">
        <p14:creationId xmlns:p14="http://schemas.microsoft.com/office/powerpoint/2010/main" val="2220731100"/>
      </p:ext>
    </p:extLst>
  </p:cSld>
  <p:clrMapOvr>
    <a:masterClrMapping/>
  </p:clrMapOvr>
  <p:extLst>
    <p:ext uri="{DCECCB84-F9BA-43D5-87BE-67443E8EF086}">
      <p15:sldGuideLst xmlns:p15="http://schemas.microsoft.com/office/powerpoint/2012/main">
        <p15:guide id="1" pos="363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orside alternativ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4A5564-B0D4-4D90-A4B6-A0C3339E8668}"/>
              </a:ext>
            </a:extLst>
          </p:cNvPr>
          <p:cNvSpPr>
            <a:spLocks noGrp="1"/>
          </p:cNvSpPr>
          <p:nvPr>
            <p:ph type="title"/>
          </p:nvPr>
        </p:nvSpPr>
        <p:spPr>
          <a:xfrm>
            <a:off x="2316162" y="2097088"/>
            <a:ext cx="6300788" cy="1655761"/>
          </a:xfrm>
        </p:spPr>
        <p:txBody>
          <a:bodyPr anchor="b">
            <a:normAutofit/>
          </a:bodyPr>
          <a:lstStyle>
            <a:lvl1pPr>
              <a:defRPr cap="all" baseline="0">
                <a:solidFill>
                  <a:schemeClr val="bg2"/>
                </a:solidFill>
              </a:defRPr>
            </a:lvl1pPr>
          </a:lstStyle>
          <a:p>
            <a:r>
              <a:rPr lang="en-GB" noProof="0"/>
              <a:t>Click to edit Master title style</a:t>
            </a:r>
            <a:endParaRPr lang="nb-NO" noProof="0"/>
          </a:p>
        </p:txBody>
      </p:sp>
      <p:grpSp>
        <p:nvGrpSpPr>
          <p:cNvPr id="15" name="Group 14">
            <a:extLst>
              <a:ext uri="{FF2B5EF4-FFF2-40B4-BE49-F238E27FC236}">
                <a16:creationId xmlns:a16="http://schemas.microsoft.com/office/drawing/2014/main" id="{3289A2E8-3D65-441A-A338-504F33981BA4}"/>
              </a:ext>
            </a:extLst>
          </p:cNvPr>
          <p:cNvGrpSpPr/>
          <p:nvPr userDrawn="1"/>
        </p:nvGrpSpPr>
        <p:grpSpPr>
          <a:xfrm rot="5400000">
            <a:off x="9768927" y="5069545"/>
            <a:ext cx="407476" cy="1638320"/>
            <a:chOff x="11870514" y="244569"/>
            <a:chExt cx="151518" cy="609202"/>
          </a:xfrm>
          <a:solidFill>
            <a:schemeClr val="bg2"/>
          </a:solidFill>
        </p:grpSpPr>
        <p:sp>
          <p:nvSpPr>
            <p:cNvPr id="16" name="Freeform: Shape 15">
              <a:extLst>
                <a:ext uri="{FF2B5EF4-FFF2-40B4-BE49-F238E27FC236}">
                  <a16:creationId xmlns:a16="http://schemas.microsoft.com/office/drawing/2014/main" id="{5402AC29-8A61-4CA4-8CB8-4BC3EC56A3B9}"/>
                </a:ext>
              </a:extLst>
            </p:cNvPr>
            <p:cNvSpPr/>
            <p:nvPr/>
          </p:nvSpPr>
          <p:spPr>
            <a:xfrm rot="16200000">
              <a:off x="11641672" y="473411"/>
              <a:ext cx="609202" cy="151518"/>
            </a:xfrm>
            <a:custGeom>
              <a:avLst/>
              <a:gdLst>
                <a:gd name="connsiteX0" fmla="*/ 413946 w 609202"/>
                <a:gd name="connsiteY0" fmla="*/ 49664 h 151518"/>
                <a:gd name="connsiteX1" fmla="*/ 384494 w 609202"/>
                <a:gd name="connsiteY1" fmla="*/ 125217 h 151518"/>
                <a:gd name="connsiteX2" fmla="*/ 354820 w 609202"/>
                <a:gd name="connsiteY2" fmla="*/ 49664 h 151518"/>
                <a:gd name="connsiteX3" fmla="*/ 331666 w 609202"/>
                <a:gd name="connsiteY3" fmla="*/ 49664 h 151518"/>
                <a:gd name="connsiteX4" fmla="*/ 372910 w 609202"/>
                <a:gd name="connsiteY4" fmla="*/ 147314 h 151518"/>
                <a:gd name="connsiteX5" fmla="*/ 393955 w 609202"/>
                <a:gd name="connsiteY5" fmla="*/ 147314 h 151518"/>
                <a:gd name="connsiteX6" fmla="*/ 435214 w 609202"/>
                <a:gd name="connsiteY6" fmla="*/ 49665 h 151518"/>
                <a:gd name="connsiteX7" fmla="*/ 297359 w 609202"/>
                <a:gd name="connsiteY7" fmla="*/ 49664 h 151518"/>
                <a:gd name="connsiteX8" fmla="*/ 297359 w 609202"/>
                <a:gd name="connsiteY8" fmla="*/ 101215 h 151518"/>
                <a:gd name="connsiteX9" fmla="*/ 272528 w 609202"/>
                <a:gd name="connsiteY9" fmla="*/ 130474 h 151518"/>
                <a:gd name="connsiteX10" fmla="*/ 247695 w 609202"/>
                <a:gd name="connsiteY10" fmla="*/ 101215 h 151518"/>
                <a:gd name="connsiteX11" fmla="*/ 247695 w 609202"/>
                <a:gd name="connsiteY11" fmla="*/ 49664 h 151518"/>
                <a:gd name="connsiteX12" fmla="*/ 227067 w 609202"/>
                <a:gd name="connsiteY12" fmla="*/ 49664 h 151518"/>
                <a:gd name="connsiteX13" fmla="*/ 227067 w 609202"/>
                <a:gd name="connsiteY13" fmla="*/ 102060 h 151518"/>
                <a:gd name="connsiteX14" fmla="*/ 272528 w 609202"/>
                <a:gd name="connsiteY14" fmla="*/ 149408 h 151518"/>
                <a:gd name="connsiteX15" fmla="*/ 317989 w 609202"/>
                <a:gd name="connsiteY15" fmla="*/ 102060 h 151518"/>
                <a:gd name="connsiteX16" fmla="*/ 317989 w 609202"/>
                <a:gd name="connsiteY16" fmla="*/ 49664 h 151518"/>
                <a:gd name="connsiteX17" fmla="*/ 162877 w 609202"/>
                <a:gd name="connsiteY17" fmla="*/ 47347 h 151518"/>
                <a:gd name="connsiteX18" fmla="*/ 140599 w 609202"/>
                <a:gd name="connsiteY18" fmla="*/ 52442 h 151518"/>
                <a:gd name="connsiteX19" fmla="*/ 112797 w 609202"/>
                <a:gd name="connsiteY19" fmla="*/ 97428 h 151518"/>
                <a:gd name="connsiteX20" fmla="*/ 156150 w 609202"/>
                <a:gd name="connsiteY20" fmla="*/ 151519 h 151518"/>
                <a:gd name="connsiteX21" fmla="*/ 168567 w 609202"/>
                <a:gd name="connsiteY21" fmla="*/ 144568 h 151518"/>
                <a:gd name="connsiteX22" fmla="*/ 197603 w 609202"/>
                <a:gd name="connsiteY22" fmla="*/ 119528 h 151518"/>
                <a:gd name="connsiteX23" fmla="*/ 212335 w 609202"/>
                <a:gd name="connsiteY23" fmla="*/ 96596 h 151518"/>
                <a:gd name="connsiteX24" fmla="*/ 162879 w 609202"/>
                <a:gd name="connsiteY24" fmla="*/ 47348 h 151518"/>
                <a:gd name="connsiteX25" fmla="*/ 184768 w 609202"/>
                <a:gd name="connsiteY25" fmla="*/ 112799 h 151518"/>
                <a:gd name="connsiteX26" fmla="*/ 168567 w 609202"/>
                <a:gd name="connsiteY26" fmla="*/ 129419 h 151518"/>
                <a:gd name="connsiteX27" fmla="*/ 161200 w 609202"/>
                <a:gd name="connsiteY27" fmla="*/ 133844 h 151518"/>
                <a:gd name="connsiteX28" fmla="*/ 132373 w 609202"/>
                <a:gd name="connsiteY28" fmla="*/ 100591 h 151518"/>
                <a:gd name="connsiteX29" fmla="*/ 162671 w 609202"/>
                <a:gd name="connsiteY29" fmla="*/ 70070 h 151518"/>
                <a:gd name="connsiteX30" fmla="*/ 192557 w 609202"/>
                <a:gd name="connsiteY30" fmla="*/ 100182 h 151518"/>
                <a:gd name="connsiteX31" fmla="*/ 192557 w 609202"/>
                <a:gd name="connsiteY31" fmla="*/ 100182 h 151518"/>
                <a:gd name="connsiteX32" fmla="*/ 192553 w 609202"/>
                <a:gd name="connsiteY32" fmla="*/ 100589 h 151518"/>
                <a:gd name="connsiteX33" fmla="*/ 184772 w 609202"/>
                <a:gd name="connsiteY33" fmla="*/ 112797 h 151518"/>
                <a:gd name="connsiteX34" fmla="*/ 51342 w 609202"/>
                <a:gd name="connsiteY34" fmla="*/ 47347 h 151518"/>
                <a:gd name="connsiteX35" fmla="*/ 20198 w 609202"/>
                <a:gd name="connsiteY35" fmla="*/ 59555 h 151518"/>
                <a:gd name="connsiteX36" fmla="*/ 19991 w 609202"/>
                <a:gd name="connsiteY36" fmla="*/ 0 h 151518"/>
                <a:gd name="connsiteX37" fmla="*/ 0 w 609202"/>
                <a:gd name="connsiteY37" fmla="*/ 0 h 151518"/>
                <a:gd name="connsiteX38" fmla="*/ 0 w 609202"/>
                <a:gd name="connsiteY38" fmla="*/ 147315 h 151518"/>
                <a:gd name="connsiteX39" fmla="*/ 20630 w 609202"/>
                <a:gd name="connsiteY39" fmla="*/ 147315 h 151518"/>
                <a:gd name="connsiteX40" fmla="*/ 20630 w 609202"/>
                <a:gd name="connsiteY40" fmla="*/ 137422 h 151518"/>
                <a:gd name="connsiteX41" fmla="*/ 51344 w 609202"/>
                <a:gd name="connsiteY41" fmla="*/ 149200 h 151518"/>
                <a:gd name="connsiteX42" fmla="*/ 100175 w 609202"/>
                <a:gd name="connsiteY42" fmla="*/ 98273 h 151518"/>
                <a:gd name="connsiteX43" fmla="*/ 51342 w 609202"/>
                <a:gd name="connsiteY43" fmla="*/ 47347 h 151518"/>
                <a:gd name="connsiteX44" fmla="*/ 49664 w 609202"/>
                <a:gd name="connsiteY44" fmla="*/ 130266 h 151518"/>
                <a:gd name="connsiteX45" fmla="*/ 20198 w 609202"/>
                <a:gd name="connsiteY45" fmla="*/ 98275 h 151518"/>
                <a:gd name="connsiteX46" fmla="*/ 49664 w 609202"/>
                <a:gd name="connsiteY46" fmla="*/ 66284 h 151518"/>
                <a:gd name="connsiteX47" fmla="*/ 79131 w 609202"/>
                <a:gd name="connsiteY47" fmla="*/ 98276 h 151518"/>
                <a:gd name="connsiteX48" fmla="*/ 49662 w 609202"/>
                <a:gd name="connsiteY48" fmla="*/ 130264 h 151518"/>
                <a:gd name="connsiteX49" fmla="*/ 609203 w 609202"/>
                <a:gd name="connsiteY49" fmla="*/ 49664 h 151518"/>
                <a:gd name="connsiteX50" fmla="*/ 579321 w 609202"/>
                <a:gd name="connsiteY50" fmla="*/ 49664 h 151518"/>
                <a:gd name="connsiteX51" fmla="*/ 579099 w 609202"/>
                <a:gd name="connsiteY51" fmla="*/ 0 h 151518"/>
                <a:gd name="connsiteX52" fmla="*/ 559107 w 609202"/>
                <a:gd name="connsiteY52" fmla="*/ 0 h 151518"/>
                <a:gd name="connsiteX53" fmla="*/ 559107 w 609202"/>
                <a:gd name="connsiteY53" fmla="*/ 49664 h 151518"/>
                <a:gd name="connsiteX54" fmla="*/ 545369 w 609202"/>
                <a:gd name="connsiteY54" fmla="*/ 49664 h 151518"/>
                <a:gd name="connsiteX55" fmla="*/ 545369 w 609202"/>
                <a:gd name="connsiteY55" fmla="*/ 67545 h 151518"/>
                <a:gd name="connsiteX56" fmla="*/ 559107 w 609202"/>
                <a:gd name="connsiteY56" fmla="*/ 67545 h 151518"/>
                <a:gd name="connsiteX57" fmla="*/ 559107 w 609202"/>
                <a:gd name="connsiteY57" fmla="*/ 147314 h 151518"/>
                <a:gd name="connsiteX58" fmla="*/ 579529 w 609202"/>
                <a:gd name="connsiteY58" fmla="*/ 147314 h 151518"/>
                <a:gd name="connsiteX59" fmla="*/ 579321 w 609202"/>
                <a:gd name="connsiteY59" fmla="*/ 67545 h 151518"/>
                <a:gd name="connsiteX60" fmla="*/ 609203 w 609202"/>
                <a:gd name="connsiteY60" fmla="*/ 67545 h 15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9202" h="151518">
                  <a:moveTo>
                    <a:pt x="413946" y="49664"/>
                  </a:moveTo>
                  <a:lnTo>
                    <a:pt x="384494" y="125217"/>
                  </a:lnTo>
                  <a:lnTo>
                    <a:pt x="354820" y="49664"/>
                  </a:lnTo>
                  <a:lnTo>
                    <a:pt x="331666" y="49664"/>
                  </a:lnTo>
                  <a:lnTo>
                    <a:pt x="372910" y="147314"/>
                  </a:lnTo>
                  <a:lnTo>
                    <a:pt x="393955" y="147314"/>
                  </a:lnTo>
                  <a:lnTo>
                    <a:pt x="435214" y="49665"/>
                  </a:lnTo>
                  <a:close/>
                  <a:moveTo>
                    <a:pt x="297359" y="49664"/>
                  </a:moveTo>
                  <a:lnTo>
                    <a:pt x="297359" y="101215"/>
                  </a:lnTo>
                  <a:cubicBezTo>
                    <a:pt x="297359" y="119735"/>
                    <a:pt x="288314" y="130474"/>
                    <a:pt x="272528" y="130474"/>
                  </a:cubicBezTo>
                  <a:cubicBezTo>
                    <a:pt x="256742" y="130474"/>
                    <a:pt x="247695" y="119735"/>
                    <a:pt x="247695" y="101215"/>
                  </a:cubicBezTo>
                  <a:lnTo>
                    <a:pt x="247695" y="49664"/>
                  </a:lnTo>
                  <a:lnTo>
                    <a:pt x="227067" y="49664"/>
                  </a:lnTo>
                  <a:lnTo>
                    <a:pt x="227067" y="102060"/>
                  </a:lnTo>
                  <a:cubicBezTo>
                    <a:pt x="227067" y="131111"/>
                    <a:pt x="244533" y="149408"/>
                    <a:pt x="272528" y="149408"/>
                  </a:cubicBezTo>
                  <a:cubicBezTo>
                    <a:pt x="300523" y="149408"/>
                    <a:pt x="317989" y="131111"/>
                    <a:pt x="317989" y="102060"/>
                  </a:cubicBezTo>
                  <a:lnTo>
                    <a:pt x="317989" y="49664"/>
                  </a:lnTo>
                  <a:close/>
                  <a:moveTo>
                    <a:pt x="162877" y="47347"/>
                  </a:moveTo>
                  <a:cubicBezTo>
                    <a:pt x="155160" y="47330"/>
                    <a:pt x="147541" y="49072"/>
                    <a:pt x="140599" y="52442"/>
                  </a:cubicBezTo>
                  <a:cubicBezTo>
                    <a:pt x="123437" y="60827"/>
                    <a:pt x="112621" y="78328"/>
                    <a:pt x="112797" y="97428"/>
                  </a:cubicBezTo>
                  <a:cubicBezTo>
                    <a:pt x="112797" y="122482"/>
                    <a:pt x="136159" y="151519"/>
                    <a:pt x="156150" y="151519"/>
                  </a:cubicBezTo>
                  <a:cubicBezTo>
                    <a:pt x="161205" y="151479"/>
                    <a:pt x="165890" y="148857"/>
                    <a:pt x="168567" y="144568"/>
                  </a:cubicBezTo>
                  <a:cubicBezTo>
                    <a:pt x="176781" y="132150"/>
                    <a:pt x="185200" y="125009"/>
                    <a:pt x="197603" y="119528"/>
                  </a:cubicBezTo>
                  <a:cubicBezTo>
                    <a:pt x="209187" y="114478"/>
                    <a:pt x="212335" y="109428"/>
                    <a:pt x="212335" y="96596"/>
                  </a:cubicBezTo>
                  <a:cubicBezTo>
                    <a:pt x="212335" y="68809"/>
                    <a:pt x="190667" y="47348"/>
                    <a:pt x="162879" y="47348"/>
                  </a:cubicBezTo>
                  <a:close/>
                  <a:moveTo>
                    <a:pt x="184768" y="112799"/>
                  </a:moveTo>
                  <a:cubicBezTo>
                    <a:pt x="176348" y="118057"/>
                    <a:pt x="171938" y="122483"/>
                    <a:pt x="168567" y="129419"/>
                  </a:cubicBezTo>
                  <a:cubicBezTo>
                    <a:pt x="167173" y="132194"/>
                    <a:pt x="164305" y="133917"/>
                    <a:pt x="161200" y="133844"/>
                  </a:cubicBezTo>
                  <a:cubicBezTo>
                    <a:pt x="147729" y="133844"/>
                    <a:pt x="132373" y="116156"/>
                    <a:pt x="132373" y="100591"/>
                  </a:cubicBezTo>
                  <a:cubicBezTo>
                    <a:pt x="132373" y="83125"/>
                    <a:pt x="145204" y="70070"/>
                    <a:pt x="162671" y="70070"/>
                  </a:cubicBezTo>
                  <a:cubicBezTo>
                    <a:pt x="179239" y="70133"/>
                    <a:pt x="192619" y="83614"/>
                    <a:pt x="192557" y="100182"/>
                  </a:cubicBezTo>
                  <a:lnTo>
                    <a:pt x="192557" y="100182"/>
                  </a:lnTo>
                  <a:cubicBezTo>
                    <a:pt x="192556" y="100317"/>
                    <a:pt x="192554" y="100452"/>
                    <a:pt x="192553" y="100589"/>
                  </a:cubicBezTo>
                  <a:cubicBezTo>
                    <a:pt x="192553" y="106053"/>
                    <a:pt x="190667" y="109217"/>
                    <a:pt x="184772" y="112797"/>
                  </a:cubicBezTo>
                  <a:close/>
                  <a:moveTo>
                    <a:pt x="51342" y="47347"/>
                  </a:moveTo>
                  <a:cubicBezTo>
                    <a:pt x="39770" y="47223"/>
                    <a:pt x="28603" y="51600"/>
                    <a:pt x="20198" y="59555"/>
                  </a:cubicBezTo>
                  <a:lnTo>
                    <a:pt x="19991" y="0"/>
                  </a:lnTo>
                  <a:lnTo>
                    <a:pt x="0" y="0"/>
                  </a:lnTo>
                  <a:lnTo>
                    <a:pt x="0" y="147315"/>
                  </a:lnTo>
                  <a:lnTo>
                    <a:pt x="20630" y="147315"/>
                  </a:lnTo>
                  <a:lnTo>
                    <a:pt x="20630" y="137422"/>
                  </a:lnTo>
                  <a:cubicBezTo>
                    <a:pt x="29061" y="145007"/>
                    <a:pt x="40002" y="149203"/>
                    <a:pt x="51344" y="149200"/>
                  </a:cubicBezTo>
                  <a:cubicBezTo>
                    <a:pt x="79130" y="149200"/>
                    <a:pt x="100175" y="127100"/>
                    <a:pt x="100175" y="98273"/>
                  </a:cubicBezTo>
                  <a:cubicBezTo>
                    <a:pt x="100175" y="69445"/>
                    <a:pt x="79130" y="47347"/>
                    <a:pt x="51342" y="47347"/>
                  </a:cubicBezTo>
                  <a:close/>
                  <a:moveTo>
                    <a:pt x="49664" y="130266"/>
                  </a:moveTo>
                  <a:cubicBezTo>
                    <a:pt x="32822" y="130266"/>
                    <a:pt x="20198" y="116587"/>
                    <a:pt x="20198" y="98275"/>
                  </a:cubicBezTo>
                  <a:cubicBezTo>
                    <a:pt x="20198" y="79962"/>
                    <a:pt x="32822" y="66284"/>
                    <a:pt x="49664" y="66284"/>
                  </a:cubicBezTo>
                  <a:cubicBezTo>
                    <a:pt x="66505" y="66284"/>
                    <a:pt x="79131" y="79962"/>
                    <a:pt x="79131" y="98276"/>
                  </a:cubicBezTo>
                  <a:cubicBezTo>
                    <a:pt x="79131" y="116590"/>
                    <a:pt x="66505" y="130264"/>
                    <a:pt x="49662" y="130264"/>
                  </a:cubicBezTo>
                  <a:close/>
                  <a:moveTo>
                    <a:pt x="609203" y="49664"/>
                  </a:moveTo>
                  <a:lnTo>
                    <a:pt x="579321" y="49664"/>
                  </a:lnTo>
                  <a:lnTo>
                    <a:pt x="579099" y="0"/>
                  </a:lnTo>
                  <a:lnTo>
                    <a:pt x="559107" y="0"/>
                  </a:lnTo>
                  <a:lnTo>
                    <a:pt x="559107" y="49664"/>
                  </a:lnTo>
                  <a:lnTo>
                    <a:pt x="545369" y="49664"/>
                  </a:lnTo>
                  <a:lnTo>
                    <a:pt x="545369" y="67545"/>
                  </a:lnTo>
                  <a:lnTo>
                    <a:pt x="559107" y="67545"/>
                  </a:lnTo>
                  <a:lnTo>
                    <a:pt x="559107" y="147314"/>
                  </a:lnTo>
                  <a:lnTo>
                    <a:pt x="579529" y="147314"/>
                  </a:lnTo>
                  <a:lnTo>
                    <a:pt x="579321" y="67545"/>
                  </a:lnTo>
                  <a:lnTo>
                    <a:pt x="609203" y="67545"/>
                  </a:lnTo>
                  <a:close/>
                </a:path>
              </a:pathLst>
            </a:custGeom>
            <a:grpFill/>
            <a:ln w="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CE4A25F-66AD-4588-A78A-F5842EE74531}"/>
                </a:ext>
              </a:extLst>
            </p:cNvPr>
            <p:cNvSpPr/>
            <p:nvPr/>
          </p:nvSpPr>
          <p:spPr>
            <a:xfrm rot="16200000">
              <a:off x="11921301" y="313678"/>
              <a:ext cx="96119" cy="101875"/>
            </a:xfrm>
            <a:custGeom>
              <a:avLst/>
              <a:gdLst>
                <a:gd name="connsiteX0" fmla="*/ 95810 w 96119"/>
                <a:gd name="connsiteY0" fmla="*/ 56965 h 101875"/>
                <a:gd name="connsiteX1" fmla="*/ 20362 w 96119"/>
                <a:gd name="connsiteY1" fmla="*/ 56965 h 101875"/>
                <a:gd name="connsiteX2" fmla="*/ 34212 w 96119"/>
                <a:gd name="connsiteY2" fmla="*/ 79118 h 101875"/>
                <a:gd name="connsiteX3" fmla="*/ 48915 w 96119"/>
                <a:gd name="connsiteY3" fmla="*/ 82727 h 101875"/>
                <a:gd name="connsiteX4" fmla="*/ 73366 w 96119"/>
                <a:gd name="connsiteY4" fmla="*/ 75426 h 101875"/>
                <a:gd name="connsiteX5" fmla="*/ 79556 w 96119"/>
                <a:gd name="connsiteY5" fmla="*/ 69472 h 101875"/>
                <a:gd name="connsiteX6" fmla="*/ 93354 w 96119"/>
                <a:gd name="connsiteY6" fmla="*/ 82930 h 101875"/>
                <a:gd name="connsiteX7" fmla="*/ 83867 w 96119"/>
                <a:gd name="connsiteY7" fmla="*/ 91638 h 101875"/>
                <a:gd name="connsiteX8" fmla="*/ 46091 w 96119"/>
                <a:gd name="connsiteY8" fmla="*/ 101759 h 101875"/>
                <a:gd name="connsiteX9" fmla="*/ 16168 w 96119"/>
                <a:gd name="connsiteY9" fmla="*/ 89716 h 101875"/>
                <a:gd name="connsiteX10" fmla="*/ 506 w 96119"/>
                <a:gd name="connsiteY10" fmla="*/ 58160 h 101875"/>
                <a:gd name="connsiteX11" fmla="*/ 5248 w 96119"/>
                <a:gd name="connsiteY11" fmla="*/ 26756 h 101875"/>
                <a:gd name="connsiteX12" fmla="*/ 40827 w 96119"/>
                <a:gd name="connsiteY12" fmla="*/ 738 h 101875"/>
                <a:gd name="connsiteX13" fmla="*/ 70343 w 96119"/>
                <a:gd name="connsiteY13" fmla="*/ 4817 h 101875"/>
                <a:gd name="connsiteX14" fmla="*/ 94209 w 96119"/>
                <a:gd name="connsiteY14" fmla="*/ 35590 h 101875"/>
                <a:gd name="connsiteX15" fmla="*/ 95810 w 96119"/>
                <a:gd name="connsiteY15" fmla="*/ 56965 h 101875"/>
                <a:gd name="connsiteX16" fmla="*/ 20776 w 96119"/>
                <a:gd name="connsiteY16" fmla="*/ 40423 h 101875"/>
                <a:gd name="connsiteX17" fmla="*/ 74793 w 96119"/>
                <a:gd name="connsiteY17" fmla="*/ 40423 h 101875"/>
                <a:gd name="connsiteX18" fmla="*/ 50253 w 96119"/>
                <a:gd name="connsiteY18" fmla="*/ 17857 h 101875"/>
                <a:gd name="connsiteX19" fmla="*/ 20776 w 96119"/>
                <a:gd name="connsiteY19" fmla="*/ 40423 h 1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119" h="101875">
                  <a:moveTo>
                    <a:pt x="95810" y="56965"/>
                  </a:moveTo>
                  <a:lnTo>
                    <a:pt x="20362" y="56965"/>
                  </a:lnTo>
                  <a:cubicBezTo>
                    <a:pt x="21886" y="66442"/>
                    <a:pt x="25653" y="74318"/>
                    <a:pt x="34212" y="79118"/>
                  </a:cubicBezTo>
                  <a:cubicBezTo>
                    <a:pt x="38729" y="81545"/>
                    <a:pt x="43788" y="82786"/>
                    <a:pt x="48915" y="82727"/>
                  </a:cubicBezTo>
                  <a:cubicBezTo>
                    <a:pt x="57811" y="82850"/>
                    <a:pt x="66195" y="81075"/>
                    <a:pt x="73366" y="75426"/>
                  </a:cubicBezTo>
                  <a:cubicBezTo>
                    <a:pt x="75532" y="73550"/>
                    <a:pt x="77598" y="71563"/>
                    <a:pt x="79556" y="69472"/>
                  </a:cubicBezTo>
                  <a:lnTo>
                    <a:pt x="93354" y="82930"/>
                  </a:lnTo>
                  <a:cubicBezTo>
                    <a:pt x="90598" y="86246"/>
                    <a:pt x="87407" y="89175"/>
                    <a:pt x="83867" y="91638"/>
                  </a:cubicBezTo>
                  <a:cubicBezTo>
                    <a:pt x="72486" y="99593"/>
                    <a:pt x="59751" y="102519"/>
                    <a:pt x="46091" y="101759"/>
                  </a:cubicBezTo>
                  <a:cubicBezTo>
                    <a:pt x="35014" y="101373"/>
                    <a:pt x="24424" y="97111"/>
                    <a:pt x="16168" y="89716"/>
                  </a:cubicBezTo>
                  <a:cubicBezTo>
                    <a:pt x="6826" y="81316"/>
                    <a:pt x="1889" y="70591"/>
                    <a:pt x="506" y="58160"/>
                  </a:cubicBezTo>
                  <a:cubicBezTo>
                    <a:pt x="-933" y="47454"/>
                    <a:pt x="712" y="36560"/>
                    <a:pt x="5248" y="26756"/>
                  </a:cubicBezTo>
                  <a:cubicBezTo>
                    <a:pt x="12466" y="11681"/>
                    <a:pt x="24591" y="3239"/>
                    <a:pt x="40827" y="738"/>
                  </a:cubicBezTo>
                  <a:cubicBezTo>
                    <a:pt x="50850" y="-1030"/>
                    <a:pt x="61175" y="397"/>
                    <a:pt x="70343" y="4817"/>
                  </a:cubicBezTo>
                  <a:cubicBezTo>
                    <a:pt x="83187" y="11156"/>
                    <a:pt x="90642" y="21889"/>
                    <a:pt x="94209" y="35590"/>
                  </a:cubicBezTo>
                  <a:cubicBezTo>
                    <a:pt x="95990" y="42566"/>
                    <a:pt x="96532" y="49801"/>
                    <a:pt x="95810" y="56965"/>
                  </a:cubicBezTo>
                  <a:close/>
                  <a:moveTo>
                    <a:pt x="20776" y="40423"/>
                  </a:moveTo>
                  <a:lnTo>
                    <a:pt x="74793" y="40423"/>
                  </a:lnTo>
                  <a:cubicBezTo>
                    <a:pt x="73059" y="28002"/>
                    <a:pt x="62776" y="18546"/>
                    <a:pt x="50253" y="17857"/>
                  </a:cubicBezTo>
                  <a:cubicBezTo>
                    <a:pt x="34544" y="16956"/>
                    <a:pt x="23456" y="25443"/>
                    <a:pt x="20776" y="40423"/>
                  </a:cubicBezTo>
                  <a:close/>
                </a:path>
              </a:pathLst>
            </a:custGeom>
            <a:grpFill/>
            <a:ln w="264" cap="flat">
              <a:noFill/>
              <a:prstDash val="solid"/>
              <a:miter/>
            </a:ln>
          </p:spPr>
          <p:txBody>
            <a:bodyPr rtlCol="0" anchor="ctr"/>
            <a:lstStyle/>
            <a:p>
              <a:endParaRPr lang="en-US"/>
            </a:p>
          </p:txBody>
        </p:sp>
      </p:grpSp>
      <p:sp>
        <p:nvSpPr>
          <p:cNvPr id="11" name="Freeform: Shape 10">
            <a:extLst>
              <a:ext uri="{FF2B5EF4-FFF2-40B4-BE49-F238E27FC236}">
                <a16:creationId xmlns:a16="http://schemas.microsoft.com/office/drawing/2014/main" id="{4F8F0A41-A289-44BD-93D7-44141F13C11D}"/>
              </a:ext>
            </a:extLst>
          </p:cNvPr>
          <p:cNvSpPr/>
          <p:nvPr/>
        </p:nvSpPr>
        <p:spPr>
          <a:xfrm>
            <a:off x="10624944" y="4676005"/>
            <a:ext cx="385955" cy="771933"/>
          </a:xfrm>
          <a:custGeom>
            <a:avLst/>
            <a:gdLst>
              <a:gd name="connsiteX0" fmla="*/ 1123191 w 1123226"/>
              <a:gd name="connsiteY0" fmla="*/ -73 h 2246518"/>
              <a:gd name="connsiteX1" fmla="*/ 1123191 w 1123226"/>
              <a:gd name="connsiteY1" fmla="*/ 2246446 h 2246518"/>
              <a:gd name="connsiteX2" fmla="*/ -36 w 1123226"/>
              <a:gd name="connsiteY2" fmla="*/ 1123220 h 2246518"/>
              <a:gd name="connsiteX3" fmla="*/ 1123191 w 1123226"/>
              <a:gd name="connsiteY3" fmla="*/ -7 h 2246518"/>
            </a:gdLst>
            <a:ahLst/>
            <a:cxnLst>
              <a:cxn ang="0">
                <a:pos x="connsiteX0" y="connsiteY0"/>
              </a:cxn>
              <a:cxn ang="0">
                <a:pos x="connsiteX1" y="connsiteY1"/>
              </a:cxn>
              <a:cxn ang="0">
                <a:pos x="connsiteX2" y="connsiteY2"/>
              </a:cxn>
              <a:cxn ang="0">
                <a:pos x="connsiteX3" y="connsiteY3"/>
              </a:cxn>
            </a:cxnLst>
            <a:rect l="l" t="t" r="r" b="b"/>
            <a:pathLst>
              <a:path w="1123226" h="2246518">
                <a:moveTo>
                  <a:pt x="1123191" y="-73"/>
                </a:moveTo>
                <a:lnTo>
                  <a:pt x="1123191" y="2246446"/>
                </a:lnTo>
                <a:cubicBezTo>
                  <a:pt x="502850" y="2246446"/>
                  <a:pt x="-36" y="1743560"/>
                  <a:pt x="-36" y="1123220"/>
                </a:cubicBezTo>
                <a:cubicBezTo>
                  <a:pt x="-36" y="502879"/>
                  <a:pt x="502850" y="-7"/>
                  <a:pt x="1123191" y="-7"/>
                </a:cubicBezTo>
                <a:close/>
              </a:path>
            </a:pathLst>
          </a:custGeom>
          <a:solidFill>
            <a:schemeClr val="accent3"/>
          </a:solidFill>
          <a:ln w="714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E9E5F7C-935D-44AE-B4D7-F96F0E923750}"/>
              </a:ext>
            </a:extLst>
          </p:cNvPr>
          <p:cNvSpPr/>
          <p:nvPr/>
        </p:nvSpPr>
        <p:spPr>
          <a:xfrm>
            <a:off x="11181162" y="5784447"/>
            <a:ext cx="562482" cy="557322"/>
          </a:xfrm>
          <a:custGeom>
            <a:avLst/>
            <a:gdLst>
              <a:gd name="connsiteX0" fmla="*/ -36 w 2171319"/>
              <a:gd name="connsiteY0" fmla="*/ 2151329 h 2151402"/>
              <a:gd name="connsiteX1" fmla="*/ 641949 w 2171319"/>
              <a:gd name="connsiteY1" fmla="*/ 1337313 h 2151402"/>
              <a:gd name="connsiteX2" fmla="*/ 1930063 w 2171319"/>
              <a:gd name="connsiteY2" fmla="*/ 226441 h 2151402"/>
              <a:gd name="connsiteX3" fmla="*/ 2171284 w 2171319"/>
              <a:gd name="connsiteY3" fmla="*/ -73 h 2151402"/>
              <a:gd name="connsiteX4" fmla="*/ 2171284 w 2171319"/>
              <a:gd name="connsiteY4" fmla="*/ 2151329 h 2151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319" h="2151402">
                <a:moveTo>
                  <a:pt x="-36" y="2151329"/>
                </a:moveTo>
                <a:cubicBezTo>
                  <a:pt x="32854" y="1733029"/>
                  <a:pt x="189636" y="1534661"/>
                  <a:pt x="641949" y="1337313"/>
                </a:cubicBezTo>
                <a:cubicBezTo>
                  <a:pt x="1197057" y="1092473"/>
                  <a:pt x="1570351" y="770746"/>
                  <a:pt x="1930063" y="226441"/>
                </a:cubicBezTo>
                <a:cubicBezTo>
                  <a:pt x="1991742" y="133189"/>
                  <a:pt x="2074341" y="55626"/>
                  <a:pt x="2171284" y="-73"/>
                </a:cubicBezTo>
                <a:lnTo>
                  <a:pt x="2171284" y="2151329"/>
                </a:lnTo>
                <a:close/>
              </a:path>
            </a:pathLst>
          </a:custGeom>
          <a:solidFill>
            <a:schemeClr val="accent2"/>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634EFC9-9435-416F-9F71-9ACD804CE676}"/>
              </a:ext>
            </a:extLst>
          </p:cNvPr>
          <p:cNvSpPr/>
          <p:nvPr userDrawn="1"/>
        </p:nvSpPr>
        <p:spPr>
          <a:xfrm>
            <a:off x="8205282" y="6199422"/>
            <a:ext cx="562481" cy="284695"/>
          </a:xfrm>
          <a:custGeom>
            <a:avLst/>
            <a:gdLst>
              <a:gd name="connsiteX0" fmla="*/ 2605793 w 2605792"/>
              <a:gd name="connsiteY0" fmla="*/ 1318898 h 1318898"/>
              <a:gd name="connsiteX1" fmla="*/ 2234098 w 2605792"/>
              <a:gd name="connsiteY1" fmla="*/ 663483 h 1318898"/>
              <a:gd name="connsiteX2" fmla="*/ 1862404 w 2605792"/>
              <a:gd name="connsiteY2" fmla="*/ 8058 h 1318898"/>
              <a:gd name="connsiteX3" fmla="*/ 1480642 w 2605792"/>
              <a:gd name="connsiteY3" fmla="*/ 657663 h 1318898"/>
              <a:gd name="connsiteX4" fmla="*/ 1305497 w 2605792"/>
              <a:gd name="connsiteY4" fmla="*/ 955691 h 1318898"/>
              <a:gd name="connsiteX5" fmla="*/ 1135218 w 2605792"/>
              <a:gd name="connsiteY5" fmla="*/ 655416 h 1318898"/>
              <a:gd name="connsiteX6" fmla="*/ 763524 w 2605792"/>
              <a:gd name="connsiteY6" fmla="*/ 0 h 1318898"/>
              <a:gd name="connsiteX7" fmla="*/ 381762 w 2605792"/>
              <a:gd name="connsiteY7" fmla="*/ 649605 h 1318898"/>
              <a:gd name="connsiteX8" fmla="*/ 0 w 2605792"/>
              <a:gd name="connsiteY8" fmla="*/ 1299210 h 1318898"/>
              <a:gd name="connsiteX9" fmla="*/ 753456 w 2605792"/>
              <a:gd name="connsiteY9" fmla="*/ 1305020 h 1318898"/>
              <a:gd name="connsiteX10" fmla="*/ 1506912 w 2605792"/>
              <a:gd name="connsiteY10" fmla="*/ 1310840 h 1318898"/>
              <a:gd name="connsiteX11" fmla="*/ 1506674 w 2605792"/>
              <a:gd name="connsiteY11" fmla="*/ 1310412 h 1318898"/>
              <a:gd name="connsiteX12" fmla="*/ 1852336 w 2605792"/>
              <a:gd name="connsiteY12" fmla="*/ 1313088 h 1318898"/>
              <a:gd name="connsiteX13" fmla="*/ 2605793 w 2605792"/>
              <a:gd name="connsiteY13" fmla="*/ 1318898 h 131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5792" h="1318898">
                <a:moveTo>
                  <a:pt x="2605793" y="1318898"/>
                </a:moveTo>
                <a:lnTo>
                  <a:pt x="2234098" y="663483"/>
                </a:lnTo>
                <a:lnTo>
                  <a:pt x="1862404" y="8058"/>
                </a:lnTo>
                <a:lnTo>
                  <a:pt x="1480642" y="657663"/>
                </a:lnTo>
                <a:lnTo>
                  <a:pt x="1305497" y="955691"/>
                </a:lnTo>
                <a:lnTo>
                  <a:pt x="1135218" y="655416"/>
                </a:lnTo>
                <a:lnTo>
                  <a:pt x="763524" y="0"/>
                </a:lnTo>
                <a:lnTo>
                  <a:pt x="381762" y="649605"/>
                </a:lnTo>
                <a:lnTo>
                  <a:pt x="0" y="1299210"/>
                </a:lnTo>
                <a:lnTo>
                  <a:pt x="753456" y="1305020"/>
                </a:lnTo>
                <a:lnTo>
                  <a:pt x="1506912" y="1310840"/>
                </a:lnTo>
                <a:lnTo>
                  <a:pt x="1506674" y="1310412"/>
                </a:lnTo>
                <a:lnTo>
                  <a:pt x="1852336" y="1313088"/>
                </a:lnTo>
                <a:lnTo>
                  <a:pt x="2605793" y="1318898"/>
                </a:lnTo>
                <a:close/>
              </a:path>
            </a:pathLst>
          </a:custGeom>
          <a:solidFill>
            <a:schemeClr val="accent1"/>
          </a:solidFill>
          <a:ln w="9525" cap="flat">
            <a:noFill/>
            <a:prstDash val="solid"/>
            <a:miter/>
          </a:ln>
        </p:spPr>
        <p:txBody>
          <a:bodyPr rtlCol="0" anchor="ctr"/>
          <a:lstStyle/>
          <a:p>
            <a:endParaRPr lang="en-US"/>
          </a:p>
        </p:txBody>
      </p:sp>
      <p:sp>
        <p:nvSpPr>
          <p:cNvPr id="24" name="Text Placeholder 23">
            <a:extLst>
              <a:ext uri="{FF2B5EF4-FFF2-40B4-BE49-F238E27FC236}">
                <a16:creationId xmlns:a16="http://schemas.microsoft.com/office/drawing/2014/main" id="{AF8B88C5-A0B4-414C-9D05-FA001AC5BF1B}"/>
              </a:ext>
            </a:extLst>
          </p:cNvPr>
          <p:cNvSpPr>
            <a:spLocks noGrp="1"/>
          </p:cNvSpPr>
          <p:nvPr>
            <p:ph type="body" sz="quarter" idx="10"/>
          </p:nvPr>
        </p:nvSpPr>
        <p:spPr>
          <a:xfrm>
            <a:off x="2316161" y="4522678"/>
            <a:ext cx="6300789" cy="496725"/>
          </a:xfrm>
        </p:spPr>
        <p:txBody>
          <a:bodyPr>
            <a:normAutofit/>
          </a:bodyPr>
          <a:lstStyle>
            <a:lvl1pPr marL="0" indent="0">
              <a:buNone/>
              <a:defRPr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
        <p:nvSpPr>
          <p:cNvPr id="25" name="Text Placeholder 23">
            <a:extLst>
              <a:ext uri="{FF2B5EF4-FFF2-40B4-BE49-F238E27FC236}">
                <a16:creationId xmlns:a16="http://schemas.microsoft.com/office/drawing/2014/main" id="{A8E95EAD-4D11-408C-A543-78867EDAC11E}"/>
              </a:ext>
            </a:extLst>
          </p:cNvPr>
          <p:cNvSpPr>
            <a:spLocks noGrp="1"/>
          </p:cNvSpPr>
          <p:nvPr>
            <p:ph type="body" sz="quarter" idx="11"/>
          </p:nvPr>
        </p:nvSpPr>
        <p:spPr>
          <a:xfrm>
            <a:off x="2325393" y="5403520"/>
            <a:ext cx="6283957" cy="797255"/>
          </a:xfrm>
        </p:spPr>
        <p:txBody>
          <a:bodyPr>
            <a:normAutofit/>
          </a:bodyPr>
          <a:lstStyle>
            <a:lvl1pPr marL="0" indent="0">
              <a:buNone/>
              <a:defRPr sz="1400">
                <a:solidFill>
                  <a:schemeClr val="bg2"/>
                </a:solidFill>
              </a:defRPr>
            </a:lvl1pPr>
          </a:lstStyle>
          <a:p>
            <a:pPr lvl="0"/>
            <a:r>
              <a:rPr lang="en-GB" noProof="0"/>
              <a:t>Click to edit Master text styles</a:t>
            </a:r>
          </a:p>
        </p:txBody>
      </p:sp>
    </p:spTree>
    <p:extLst>
      <p:ext uri="{BB962C8B-B14F-4D97-AF65-F5344CB8AC3E}">
        <p14:creationId xmlns:p14="http://schemas.microsoft.com/office/powerpoint/2010/main" val="2606377330"/>
      </p:ext>
    </p:extLst>
  </p:cSld>
  <p:clrMapOvr>
    <a:masterClrMapping/>
  </p:clrMapOvr>
  <p:extLst>
    <p:ext uri="{DCECCB84-F9BA-43D5-87BE-67443E8EF086}">
      <p15:sldGuideLst xmlns:p15="http://schemas.microsoft.com/office/powerpoint/2012/main">
        <p15:guide id="1" pos="1459">
          <p15:clr>
            <a:srgbClr val="FBAE40"/>
          </p15:clr>
        </p15:guide>
        <p15:guide id="2" pos="5428">
          <p15:clr>
            <a:srgbClr val="FBAE40"/>
          </p15:clr>
        </p15:guide>
        <p15:guide id="3" orient="horz" pos="236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normAutofit/>
          </a:bodyPr>
          <a:lstStyle/>
          <a:p>
            <a:r>
              <a:rPr lang="en-GB" noProof="0"/>
              <a:t>Click to edit Master title style</a:t>
            </a:r>
            <a:endParaRPr lang="nb-NO" noProof="0"/>
          </a:p>
        </p:txBody>
      </p:sp>
      <p:sp>
        <p:nvSpPr>
          <p:cNvPr id="6" name="Content Placeholder 5">
            <a:extLst>
              <a:ext uri="{FF2B5EF4-FFF2-40B4-BE49-F238E27FC236}">
                <a16:creationId xmlns:a16="http://schemas.microsoft.com/office/drawing/2014/main" id="{611A7EBB-3399-4893-B2ED-2AB5528D3477}"/>
              </a:ext>
            </a:extLst>
          </p:cNvPr>
          <p:cNvSpPr>
            <a:spLocks noGrp="1"/>
          </p:cNvSpPr>
          <p:nvPr>
            <p:ph sz="quarter" idx="17"/>
          </p:nvPr>
        </p:nvSpPr>
        <p:spPr>
          <a:xfrm>
            <a:off x="839788" y="2097088"/>
            <a:ext cx="10514012" cy="410368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nb-NO" noProof="0"/>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rmAutofit/>
          </a:bodyPr>
          <a:lstStyle>
            <a:lvl1pPr marL="0" indent="0">
              <a:buNone/>
              <a:defRPr sz="2800"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Tree>
    <p:extLst>
      <p:ext uri="{BB962C8B-B14F-4D97-AF65-F5344CB8AC3E}">
        <p14:creationId xmlns:p14="http://schemas.microsoft.com/office/powerpoint/2010/main" val="896158626"/>
      </p:ext>
    </p:extLst>
  </p:cSld>
  <p:clrMapOvr>
    <a:masterClrMapping/>
  </p:clrMapOvr>
  <p:extLst>
    <p:ext uri="{DCECCB84-F9BA-43D5-87BE-67443E8EF086}">
      <p15:sldGuideLst xmlns:p15="http://schemas.microsoft.com/office/powerpoint/2012/main">
        <p15:guide id="1" orient="horz" pos="82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tel og innhold to del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normAutofit/>
          </a:bodyPr>
          <a:lstStyle/>
          <a:p>
            <a:r>
              <a:rPr lang="en-GB" noProof="0"/>
              <a:t>Click to edit Master title style</a:t>
            </a:r>
            <a:endParaRPr lang="nb-NO" noProof="0"/>
          </a:p>
        </p:txBody>
      </p:sp>
      <p:sp>
        <p:nvSpPr>
          <p:cNvPr id="6" name="Content Placeholder 5">
            <a:extLst>
              <a:ext uri="{FF2B5EF4-FFF2-40B4-BE49-F238E27FC236}">
                <a16:creationId xmlns:a16="http://schemas.microsoft.com/office/drawing/2014/main" id="{611A7EBB-3399-4893-B2ED-2AB5528D3477}"/>
              </a:ext>
            </a:extLst>
          </p:cNvPr>
          <p:cNvSpPr>
            <a:spLocks noGrp="1"/>
          </p:cNvSpPr>
          <p:nvPr>
            <p:ph sz="quarter" idx="17"/>
          </p:nvPr>
        </p:nvSpPr>
        <p:spPr>
          <a:xfrm>
            <a:off x="839788" y="2097088"/>
            <a:ext cx="4932362" cy="410368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nb-NO" noProof="0"/>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rmAutofit/>
          </a:bodyPr>
          <a:lstStyle>
            <a:lvl1pPr marL="0" indent="0">
              <a:buNone/>
              <a:defRPr sz="2800"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
        <p:nvSpPr>
          <p:cNvPr id="8" name="Content Placeholder 7">
            <a:extLst>
              <a:ext uri="{FF2B5EF4-FFF2-40B4-BE49-F238E27FC236}">
                <a16:creationId xmlns:a16="http://schemas.microsoft.com/office/drawing/2014/main" id="{B51E888E-743F-4571-9AFC-D2D0A84D79D0}"/>
              </a:ext>
            </a:extLst>
          </p:cNvPr>
          <p:cNvSpPr>
            <a:spLocks noGrp="1"/>
          </p:cNvSpPr>
          <p:nvPr>
            <p:ph sz="quarter" idx="19"/>
          </p:nvPr>
        </p:nvSpPr>
        <p:spPr>
          <a:xfrm>
            <a:off x="6419851" y="2097088"/>
            <a:ext cx="4933950" cy="410368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nb-NO" noProof="0"/>
          </a:p>
        </p:txBody>
      </p:sp>
    </p:spTree>
    <p:extLst>
      <p:ext uri="{BB962C8B-B14F-4D97-AF65-F5344CB8AC3E}">
        <p14:creationId xmlns:p14="http://schemas.microsoft.com/office/powerpoint/2010/main" val="2634711047"/>
      </p:ext>
    </p:extLst>
  </p:cSld>
  <p:clrMapOvr>
    <a:masterClrMapping/>
  </p:clrMapOvr>
  <p:extLst>
    <p:ext uri="{DCECCB84-F9BA-43D5-87BE-67443E8EF086}">
      <p15:sldGuideLst xmlns:p15="http://schemas.microsoft.com/office/powerpoint/2012/main">
        <p15:guide id="1" orient="horz" pos="822">
          <p15:clr>
            <a:srgbClr val="FBAE40"/>
          </p15:clr>
        </p15:guide>
        <p15:guide id="2" pos="3636">
          <p15:clr>
            <a:srgbClr val="FBAE40"/>
          </p15:clr>
        </p15:guide>
        <p15:guide id="3" pos="404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tel og innhold tre del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normAutofit/>
          </a:bodyPr>
          <a:lstStyle/>
          <a:p>
            <a:r>
              <a:rPr lang="en-GB" noProof="0"/>
              <a:t>Click to edit Master title style</a:t>
            </a:r>
            <a:endParaRPr lang="nb-NO" noProof="0"/>
          </a:p>
        </p:txBody>
      </p:sp>
      <p:sp>
        <p:nvSpPr>
          <p:cNvPr id="6" name="Content Placeholder 5">
            <a:extLst>
              <a:ext uri="{FF2B5EF4-FFF2-40B4-BE49-F238E27FC236}">
                <a16:creationId xmlns:a16="http://schemas.microsoft.com/office/drawing/2014/main" id="{611A7EBB-3399-4893-B2ED-2AB5528D3477}"/>
              </a:ext>
            </a:extLst>
          </p:cNvPr>
          <p:cNvSpPr>
            <a:spLocks noGrp="1"/>
          </p:cNvSpPr>
          <p:nvPr>
            <p:ph sz="quarter" idx="17"/>
          </p:nvPr>
        </p:nvSpPr>
        <p:spPr>
          <a:xfrm>
            <a:off x="839788" y="2097088"/>
            <a:ext cx="3060700" cy="410368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nb-NO" noProof="0"/>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rmAutofit/>
          </a:bodyPr>
          <a:lstStyle>
            <a:lvl1pPr marL="0" indent="0">
              <a:buNone/>
              <a:defRPr sz="2800"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
        <p:nvSpPr>
          <p:cNvPr id="8" name="Content Placeholder 7">
            <a:extLst>
              <a:ext uri="{FF2B5EF4-FFF2-40B4-BE49-F238E27FC236}">
                <a16:creationId xmlns:a16="http://schemas.microsoft.com/office/drawing/2014/main" id="{B51E888E-743F-4571-9AFC-D2D0A84D79D0}"/>
              </a:ext>
            </a:extLst>
          </p:cNvPr>
          <p:cNvSpPr>
            <a:spLocks noGrp="1"/>
          </p:cNvSpPr>
          <p:nvPr>
            <p:ph sz="quarter" idx="19"/>
          </p:nvPr>
        </p:nvSpPr>
        <p:spPr>
          <a:xfrm>
            <a:off x="8291513" y="2097088"/>
            <a:ext cx="3062287" cy="410368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nb-NO" noProof="0"/>
          </a:p>
        </p:txBody>
      </p:sp>
      <p:sp>
        <p:nvSpPr>
          <p:cNvPr id="11" name="Content Placeholder 5">
            <a:extLst>
              <a:ext uri="{FF2B5EF4-FFF2-40B4-BE49-F238E27FC236}">
                <a16:creationId xmlns:a16="http://schemas.microsoft.com/office/drawing/2014/main" id="{B768B532-41DC-4774-AEC1-0AB166390D97}"/>
              </a:ext>
            </a:extLst>
          </p:cNvPr>
          <p:cNvSpPr>
            <a:spLocks noGrp="1"/>
          </p:cNvSpPr>
          <p:nvPr>
            <p:ph sz="quarter" idx="20"/>
          </p:nvPr>
        </p:nvSpPr>
        <p:spPr>
          <a:xfrm>
            <a:off x="4548187" y="2098677"/>
            <a:ext cx="3095625" cy="410368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nb-NO" noProof="0"/>
          </a:p>
        </p:txBody>
      </p:sp>
    </p:spTree>
    <p:extLst>
      <p:ext uri="{BB962C8B-B14F-4D97-AF65-F5344CB8AC3E}">
        <p14:creationId xmlns:p14="http://schemas.microsoft.com/office/powerpoint/2010/main" val="2368965095"/>
      </p:ext>
    </p:extLst>
  </p:cSld>
  <p:clrMapOvr>
    <a:masterClrMapping/>
  </p:clrMapOvr>
  <p:extLst>
    <p:ext uri="{DCECCB84-F9BA-43D5-87BE-67443E8EF086}">
      <p15:sldGuideLst xmlns:p15="http://schemas.microsoft.com/office/powerpoint/2012/main">
        <p15:guide id="1" orient="horz" pos="822">
          <p15:clr>
            <a:srgbClr val="FBAE40"/>
          </p15:clr>
        </p15:guide>
        <p15:guide id="2" pos="2457">
          <p15:clr>
            <a:srgbClr val="FBAE40"/>
          </p15:clr>
        </p15:guide>
        <p15:guide id="3" pos="5223">
          <p15:clr>
            <a:srgbClr val="FBAE40"/>
          </p15:clr>
        </p15:guide>
        <p15:guide id="4" pos="2865">
          <p15:clr>
            <a:srgbClr val="FBAE40"/>
          </p15:clr>
        </p15:guide>
        <p15:guide id="5" pos="481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bg>
      <p:bgPr>
        <a:solidFill>
          <a:schemeClr val="tx1"/>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spcBef>
                <a:spcPts val="0"/>
              </a:spcBef>
              <a:buNone/>
              <a:defRPr sz="1230">
                <a:solidFill>
                  <a:schemeClr val="bg1">
                    <a:lumMod val="85000"/>
                  </a:schemeClr>
                </a:solidFill>
              </a:defRPr>
            </a:lvl1pPr>
          </a:lstStyle>
          <a:p>
            <a:pPr marL="0" marR="0" lvl="0" indent="0" algn="ctr" defTabSz="914400" rtl="0" eaLnBrk="1" fontAlgn="ctr" latinLnBrk="0" hangingPunct="1">
              <a:lnSpc>
                <a:spcPct val="100000"/>
              </a:lnSpc>
              <a:spcBef>
                <a:spcPts val="0"/>
              </a:spcBef>
              <a:spcAft>
                <a:spcPts val="0"/>
              </a:spcAft>
              <a:buClr>
                <a:schemeClr val="tx2"/>
              </a:buClr>
              <a:buSzTx/>
              <a:buFont typeface="Avenir Next LT Pro" panose="020B0504020202020204" pitchFamily="34" charset="0"/>
              <a:buNone/>
              <a:tabLst/>
              <a:defRPr/>
            </a:pPr>
            <a:r>
              <a:rPr lang="nb-NO" err="1"/>
              <a:t>Drainn</a:t>
            </a:r>
            <a:r>
              <a:rPr lang="nb-NO"/>
              <a:t>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br>
              <a:rPr lang="nb-NO"/>
            </a:br>
            <a:r>
              <a:rPr lang="nb-NO"/>
              <a:t>For </a:t>
            </a:r>
            <a:r>
              <a:rPr lang="nb-NO" err="1"/>
              <a:t>bedre</a:t>
            </a:r>
            <a:r>
              <a:rPr lang="nb-NO"/>
              <a:t> </a:t>
            </a:r>
            <a:r>
              <a:rPr lang="nb-NO" err="1"/>
              <a:t>lesbarhet</a:t>
            </a:r>
            <a:r>
              <a:rPr lang="nb-NO"/>
              <a:t>, </a:t>
            </a:r>
            <a:r>
              <a:rPr lang="nb-NO" err="1"/>
              <a:t>gjør</a:t>
            </a:r>
            <a:r>
              <a:rPr lang="nb-NO"/>
              <a:t> </a:t>
            </a:r>
            <a:r>
              <a:rPr lang="nb-NO" err="1"/>
              <a:t>bildet</a:t>
            </a:r>
            <a:r>
              <a:rPr lang="nb-NO"/>
              <a:t> </a:t>
            </a:r>
            <a:r>
              <a:rPr lang="nb-NO" err="1"/>
              <a:t>mørkere</a:t>
            </a:r>
            <a:r>
              <a:rPr lang="nb-NO"/>
              <a:t> </a:t>
            </a:r>
            <a:r>
              <a:rPr lang="nb-NO" err="1"/>
              <a:t>på</a:t>
            </a:r>
            <a:r>
              <a:rPr lang="nb-NO"/>
              <a:t> </a:t>
            </a:r>
            <a:r>
              <a:rPr lang="nb-NO" err="1"/>
              <a:t>Bildeformat-fanen</a:t>
            </a:r>
            <a:r>
              <a:rPr lang="nb-NO"/>
              <a:t> &gt; </a:t>
            </a:r>
            <a:r>
              <a:rPr lang="nb-NO" err="1"/>
              <a:t>Korrigeringer</a:t>
            </a:r>
            <a:r>
              <a:rPr lang="nb-NO"/>
              <a:t>. </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
        <p:nvSpPr>
          <p:cNvPr id="9" name="Tittel 1">
            <a:extLst>
              <a:ext uri="{FF2B5EF4-FFF2-40B4-BE49-F238E27FC236}">
                <a16:creationId xmlns:a16="http://schemas.microsoft.com/office/drawing/2014/main" id="{2A8A5D1E-CF78-027F-BF70-EA68A4EF52F1}"/>
              </a:ext>
            </a:extLst>
          </p:cNvPr>
          <p:cNvSpPr>
            <a:spLocks noGrp="1"/>
          </p:cNvSpPr>
          <p:nvPr>
            <p:ph type="ctrTitle"/>
          </p:nvPr>
        </p:nvSpPr>
        <p:spPr>
          <a:xfrm>
            <a:off x="1487489" y="2640815"/>
            <a:ext cx="9217024" cy="1443472"/>
          </a:xfrm>
        </p:spPr>
        <p:txBody>
          <a:bodyPr anchor="t" anchorCtr="0">
            <a:noAutofit/>
          </a:bodyPr>
          <a:lstStyle>
            <a:lvl1pPr algn="ctr">
              <a:lnSpc>
                <a:spcPct val="100000"/>
              </a:lnSpc>
              <a:defRPr sz="4690">
                <a:solidFill>
                  <a:schemeClr val="bg1"/>
                </a:solidFill>
              </a:defRPr>
            </a:lvl1pPr>
          </a:lstStyle>
          <a:p>
            <a:r>
              <a:rPr lang="nb-NO"/>
              <a:t>Klikk for å redigere tittelstil</a:t>
            </a:r>
          </a:p>
        </p:txBody>
      </p:sp>
      <p:sp>
        <p:nvSpPr>
          <p:cNvPr id="11" name="Undertittel 2">
            <a:extLst>
              <a:ext uri="{FF2B5EF4-FFF2-40B4-BE49-F238E27FC236}">
                <a16:creationId xmlns:a16="http://schemas.microsoft.com/office/drawing/2014/main" id="{644B20AE-75F5-CA81-5602-207D975A56AA}"/>
              </a:ext>
            </a:extLst>
          </p:cNvPr>
          <p:cNvSpPr>
            <a:spLocks noGrp="1"/>
          </p:cNvSpPr>
          <p:nvPr>
            <p:ph type="subTitle" idx="1" hasCustomPrompt="1"/>
          </p:nvPr>
        </p:nvSpPr>
        <p:spPr>
          <a:xfrm>
            <a:off x="3392488" y="5027944"/>
            <a:ext cx="5407025" cy="591806"/>
          </a:xfrm>
        </p:spPr>
        <p:txBody>
          <a:bodyPr>
            <a:noAutofit/>
          </a:bodyPr>
          <a:lstStyle>
            <a:lvl1pPr marL="0" indent="0" algn="ctr">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Undertittel</a:t>
            </a:r>
            <a:endParaRPr lang="nb-NO"/>
          </a:p>
        </p:txBody>
      </p:sp>
    </p:spTree>
    <p:extLst>
      <p:ext uri="{BB962C8B-B14F-4D97-AF65-F5344CB8AC3E}">
        <p14:creationId xmlns:p14="http://schemas.microsoft.com/office/powerpoint/2010/main" val="52979136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te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normAutofit/>
          </a:bodyPr>
          <a:lstStyle/>
          <a:p>
            <a:r>
              <a:rPr lang="en-GB" noProof="0"/>
              <a:t>Click to edit Master title style</a:t>
            </a:r>
            <a:endParaRPr lang="nb-NO" noProof="0"/>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rmAutofit/>
          </a:bodyPr>
          <a:lstStyle>
            <a:lvl1pPr marL="0" indent="0">
              <a:buNone/>
              <a:defRPr sz="2800"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Tree>
    <p:extLst>
      <p:ext uri="{BB962C8B-B14F-4D97-AF65-F5344CB8AC3E}">
        <p14:creationId xmlns:p14="http://schemas.microsoft.com/office/powerpoint/2010/main" val="1926759078"/>
      </p:ext>
    </p:extLst>
  </p:cSld>
  <p:clrMapOvr>
    <a:masterClrMapping/>
  </p:clrMapOvr>
  <p:extLst>
    <p:ext uri="{DCECCB84-F9BA-43D5-87BE-67443E8EF086}">
      <p15:sldGuideLst xmlns:p15="http://schemas.microsoft.com/office/powerpoint/2012/main">
        <p15:guide id="1" orient="horz" pos="82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tel og tekst alternativ">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E829F-C6B1-4E47-BE73-78ADAC85651B}"/>
              </a:ext>
            </a:extLst>
          </p:cNvPr>
          <p:cNvSpPr>
            <a:spLocks noGrp="1"/>
          </p:cNvSpPr>
          <p:nvPr>
            <p:ph type="title"/>
          </p:nvPr>
        </p:nvSpPr>
        <p:spPr>
          <a:xfrm>
            <a:off x="839788" y="3012193"/>
            <a:ext cx="10512425" cy="992117"/>
          </a:xfrm>
        </p:spPr>
        <p:txBody>
          <a:bodyPr>
            <a:normAutofit/>
          </a:bodyPr>
          <a:lstStyle/>
          <a:p>
            <a:r>
              <a:rPr lang="en-GB" noProof="0"/>
              <a:t>Click to edit Master title style</a:t>
            </a:r>
            <a:endParaRPr lang="nb-NO" noProof="0"/>
          </a:p>
        </p:txBody>
      </p:sp>
      <p:sp>
        <p:nvSpPr>
          <p:cNvPr id="4" name="Text Placeholder 3">
            <a:extLst>
              <a:ext uri="{FF2B5EF4-FFF2-40B4-BE49-F238E27FC236}">
                <a16:creationId xmlns:a16="http://schemas.microsoft.com/office/drawing/2014/main" id="{38B6F8E5-4F25-4B20-9C00-5D1EE30C25E3}"/>
              </a:ext>
            </a:extLst>
          </p:cNvPr>
          <p:cNvSpPr>
            <a:spLocks noGrp="1"/>
          </p:cNvSpPr>
          <p:nvPr>
            <p:ph type="body" sz="quarter" idx="10"/>
          </p:nvPr>
        </p:nvSpPr>
        <p:spPr>
          <a:xfrm>
            <a:off x="839788" y="4004310"/>
            <a:ext cx="10512425" cy="219646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nb-NO" noProof="0"/>
          </a:p>
        </p:txBody>
      </p:sp>
    </p:spTree>
    <p:extLst>
      <p:ext uri="{BB962C8B-B14F-4D97-AF65-F5344CB8AC3E}">
        <p14:creationId xmlns:p14="http://schemas.microsoft.com/office/powerpoint/2010/main" val="234674183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tel og bilde helside">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21793A7B-AE56-C74D-83CD-6C0067FBC033}"/>
              </a:ext>
            </a:extLst>
          </p:cNvPr>
          <p:cNvSpPr>
            <a:spLocks noGrp="1"/>
          </p:cNvSpPr>
          <p:nvPr>
            <p:ph type="pic" sz="quarter" idx="15"/>
          </p:nvPr>
        </p:nvSpPr>
        <p:spPr>
          <a:xfrm>
            <a:off x="0" y="0"/>
            <a:ext cx="12192000" cy="6858000"/>
          </a:xfrm>
          <a:prstGeom prst="rect">
            <a:avLst/>
          </a:prstGeom>
        </p:spPr>
        <p:txBody>
          <a:bodyPr anchor="ctr"/>
          <a:lstStyle>
            <a:lvl1pPr marL="0" indent="0" algn="ctr">
              <a:buNone/>
              <a:defRPr sz="16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2" name="Title 1">
            <a:extLst>
              <a:ext uri="{FF2B5EF4-FFF2-40B4-BE49-F238E27FC236}">
                <a16:creationId xmlns:a16="http://schemas.microsoft.com/office/drawing/2014/main" id="{B154E7DB-23CD-4B89-B557-9FC8FFE20DF2}"/>
              </a:ext>
            </a:extLst>
          </p:cNvPr>
          <p:cNvSpPr>
            <a:spLocks noGrp="1"/>
          </p:cNvSpPr>
          <p:nvPr>
            <p:ph type="title"/>
          </p:nvPr>
        </p:nvSpPr>
        <p:spPr>
          <a:xfrm>
            <a:off x="839788" y="5016817"/>
            <a:ext cx="10512425" cy="1183958"/>
          </a:xfrm>
        </p:spPr>
        <p:txBody>
          <a:bodyPr anchor="b">
            <a:normAutofit/>
          </a:bodyPr>
          <a:lstStyle/>
          <a:p>
            <a:r>
              <a:rPr lang="en-GB" noProof="0"/>
              <a:t>Click to edit Master title style</a:t>
            </a:r>
            <a:endParaRPr lang="nb-NO" noProof="0"/>
          </a:p>
        </p:txBody>
      </p:sp>
    </p:spTree>
    <p:extLst>
      <p:ext uri="{BB962C8B-B14F-4D97-AF65-F5344CB8AC3E}">
        <p14:creationId xmlns:p14="http://schemas.microsoft.com/office/powerpoint/2010/main" val="291898168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presentasjon">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2ED25A7A-261A-0B43-A8E9-F01017A8A176}"/>
              </a:ext>
            </a:extLst>
          </p:cNvPr>
          <p:cNvSpPr>
            <a:spLocks noGrp="1"/>
          </p:cNvSpPr>
          <p:nvPr>
            <p:ph type="pic" sz="quarter" idx="11"/>
          </p:nvPr>
        </p:nvSpPr>
        <p:spPr>
          <a:xfrm>
            <a:off x="1464082" y="2663280"/>
            <a:ext cx="1212850" cy="1530350"/>
          </a:xfrm>
          <a:prstGeom prst="rect">
            <a:avLst/>
          </a:prstGeom>
        </p:spPr>
        <p:txBody>
          <a:bodyPr anchor="ctr"/>
          <a:lstStyle>
            <a:lvl1pPr marL="0" indent="0" algn="ctr">
              <a:buNone/>
              <a:defRPr sz="14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39" name="Picture Placeholder 8">
            <a:extLst>
              <a:ext uri="{FF2B5EF4-FFF2-40B4-BE49-F238E27FC236}">
                <a16:creationId xmlns:a16="http://schemas.microsoft.com/office/drawing/2014/main" id="{9166DD9E-55E8-7C4D-A3FB-F01421C54124}"/>
              </a:ext>
            </a:extLst>
          </p:cNvPr>
          <p:cNvSpPr>
            <a:spLocks noGrp="1"/>
          </p:cNvSpPr>
          <p:nvPr>
            <p:ph type="pic" sz="quarter" idx="12"/>
          </p:nvPr>
        </p:nvSpPr>
        <p:spPr>
          <a:xfrm>
            <a:off x="3070275" y="2663280"/>
            <a:ext cx="1212850" cy="1530350"/>
          </a:xfrm>
          <a:prstGeom prst="rect">
            <a:avLst/>
          </a:prstGeom>
        </p:spPr>
        <p:txBody>
          <a:bodyPr anchor="ctr"/>
          <a:lstStyle>
            <a:lvl1pPr marL="0" indent="0" algn="ctr">
              <a:buNone/>
              <a:defRPr sz="14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40" name="Picture Placeholder 8">
            <a:extLst>
              <a:ext uri="{FF2B5EF4-FFF2-40B4-BE49-F238E27FC236}">
                <a16:creationId xmlns:a16="http://schemas.microsoft.com/office/drawing/2014/main" id="{869A3281-93B9-D044-95C7-95EE88207E90}"/>
              </a:ext>
            </a:extLst>
          </p:cNvPr>
          <p:cNvSpPr>
            <a:spLocks noGrp="1"/>
          </p:cNvSpPr>
          <p:nvPr>
            <p:ph type="pic" sz="quarter" idx="13"/>
          </p:nvPr>
        </p:nvSpPr>
        <p:spPr>
          <a:xfrm>
            <a:off x="4676468" y="2663280"/>
            <a:ext cx="1212850" cy="1530350"/>
          </a:xfrm>
          <a:prstGeom prst="rect">
            <a:avLst/>
          </a:prstGeom>
        </p:spPr>
        <p:txBody>
          <a:bodyPr anchor="ctr"/>
          <a:lstStyle>
            <a:lvl1pPr marL="0" indent="0" algn="ctr">
              <a:buNone/>
              <a:defRPr sz="14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41" name="Picture Placeholder 8">
            <a:extLst>
              <a:ext uri="{FF2B5EF4-FFF2-40B4-BE49-F238E27FC236}">
                <a16:creationId xmlns:a16="http://schemas.microsoft.com/office/drawing/2014/main" id="{04C4C85B-DBC6-1C48-8254-CC69EED702D3}"/>
              </a:ext>
            </a:extLst>
          </p:cNvPr>
          <p:cNvSpPr>
            <a:spLocks noGrp="1"/>
          </p:cNvSpPr>
          <p:nvPr>
            <p:ph type="pic" sz="quarter" idx="14"/>
          </p:nvPr>
        </p:nvSpPr>
        <p:spPr>
          <a:xfrm>
            <a:off x="6282661" y="2663280"/>
            <a:ext cx="1212850" cy="1530350"/>
          </a:xfrm>
          <a:prstGeom prst="rect">
            <a:avLst/>
          </a:prstGeom>
        </p:spPr>
        <p:txBody>
          <a:bodyPr anchor="ctr"/>
          <a:lstStyle>
            <a:lvl1pPr marL="0" indent="0" algn="ctr">
              <a:buNone/>
              <a:defRPr sz="14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42" name="Picture Placeholder 8">
            <a:extLst>
              <a:ext uri="{FF2B5EF4-FFF2-40B4-BE49-F238E27FC236}">
                <a16:creationId xmlns:a16="http://schemas.microsoft.com/office/drawing/2014/main" id="{E176FB11-84E3-7D49-9208-B88D1A3862F9}"/>
              </a:ext>
            </a:extLst>
          </p:cNvPr>
          <p:cNvSpPr>
            <a:spLocks noGrp="1"/>
          </p:cNvSpPr>
          <p:nvPr>
            <p:ph type="pic" sz="quarter" idx="15"/>
          </p:nvPr>
        </p:nvSpPr>
        <p:spPr>
          <a:xfrm>
            <a:off x="7888854" y="2663280"/>
            <a:ext cx="1212850" cy="1530350"/>
          </a:xfrm>
          <a:prstGeom prst="rect">
            <a:avLst/>
          </a:prstGeom>
        </p:spPr>
        <p:txBody>
          <a:bodyPr anchor="ctr"/>
          <a:lstStyle>
            <a:lvl1pPr marL="0" indent="0" algn="ctr">
              <a:buNone/>
              <a:defRPr sz="14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43" name="Picture Placeholder 8">
            <a:extLst>
              <a:ext uri="{FF2B5EF4-FFF2-40B4-BE49-F238E27FC236}">
                <a16:creationId xmlns:a16="http://schemas.microsoft.com/office/drawing/2014/main" id="{51E255ED-408C-D643-901C-F53FAC705403}"/>
              </a:ext>
            </a:extLst>
          </p:cNvPr>
          <p:cNvSpPr>
            <a:spLocks noGrp="1"/>
          </p:cNvSpPr>
          <p:nvPr>
            <p:ph type="pic" sz="quarter" idx="16"/>
          </p:nvPr>
        </p:nvSpPr>
        <p:spPr>
          <a:xfrm>
            <a:off x="9495047" y="2663280"/>
            <a:ext cx="1212850" cy="1530350"/>
          </a:xfrm>
          <a:prstGeom prst="rect">
            <a:avLst/>
          </a:prstGeom>
        </p:spPr>
        <p:txBody>
          <a:bodyPr anchor="ctr"/>
          <a:lstStyle>
            <a:lvl1pPr marL="0" indent="0" algn="ctr">
              <a:buNone/>
              <a:defRPr sz="14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23" name="Text Placeholder 43">
            <a:extLst>
              <a:ext uri="{FF2B5EF4-FFF2-40B4-BE49-F238E27FC236}">
                <a16:creationId xmlns:a16="http://schemas.microsoft.com/office/drawing/2014/main" id="{35CFAD26-538C-DC40-8739-EEB6E082782A}"/>
              </a:ext>
            </a:extLst>
          </p:cNvPr>
          <p:cNvSpPr>
            <a:spLocks noGrp="1"/>
          </p:cNvSpPr>
          <p:nvPr>
            <p:ph type="body" sz="quarter" idx="17" hasCustomPrompt="1"/>
          </p:nvPr>
        </p:nvSpPr>
        <p:spPr>
          <a:xfrm>
            <a:off x="1464082" y="4625082"/>
            <a:ext cx="1440287" cy="256481"/>
          </a:xfrm>
          <a:prstGeom prst="rect">
            <a:avLst/>
          </a:prstGeom>
        </p:spPr>
        <p:txBody>
          <a:bodyPr>
            <a:normAutofit/>
          </a:bodyPr>
          <a:lstStyle>
            <a:lvl1pPr marL="0" indent="0">
              <a:buNone/>
              <a:defRPr lang="en-NO" sz="1050" kern="1200" cap="all" baseline="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TITTEL</a:t>
            </a:r>
          </a:p>
        </p:txBody>
      </p:sp>
      <p:sp>
        <p:nvSpPr>
          <p:cNvPr id="2" name="Title 1">
            <a:extLst>
              <a:ext uri="{FF2B5EF4-FFF2-40B4-BE49-F238E27FC236}">
                <a16:creationId xmlns:a16="http://schemas.microsoft.com/office/drawing/2014/main" id="{669511DB-D674-420C-B7DB-FCE430DD65E2}"/>
              </a:ext>
            </a:extLst>
          </p:cNvPr>
          <p:cNvSpPr>
            <a:spLocks noGrp="1"/>
          </p:cNvSpPr>
          <p:nvPr>
            <p:ph type="title"/>
          </p:nvPr>
        </p:nvSpPr>
        <p:spPr/>
        <p:txBody>
          <a:bodyPr>
            <a:normAutofit/>
          </a:bodyPr>
          <a:lstStyle/>
          <a:p>
            <a:r>
              <a:rPr lang="en-GB" noProof="0"/>
              <a:t>Click to edit Master title style</a:t>
            </a:r>
            <a:endParaRPr lang="nb-NO" noProof="0"/>
          </a:p>
        </p:txBody>
      </p:sp>
      <p:sp>
        <p:nvSpPr>
          <p:cNvPr id="15" name="Text Placeholder 6">
            <a:extLst>
              <a:ext uri="{FF2B5EF4-FFF2-40B4-BE49-F238E27FC236}">
                <a16:creationId xmlns:a16="http://schemas.microsoft.com/office/drawing/2014/main" id="{078EE076-7091-4FDF-9F9F-12213C717D1E}"/>
              </a:ext>
            </a:extLst>
          </p:cNvPr>
          <p:cNvSpPr>
            <a:spLocks noGrp="1"/>
          </p:cNvSpPr>
          <p:nvPr>
            <p:ph type="body" sz="quarter" idx="23"/>
          </p:nvPr>
        </p:nvSpPr>
        <p:spPr>
          <a:xfrm>
            <a:off x="839788" y="1304925"/>
            <a:ext cx="10512425" cy="608014"/>
          </a:xfrm>
        </p:spPr>
        <p:txBody>
          <a:bodyPr>
            <a:normAutofit/>
          </a:bodyPr>
          <a:lstStyle>
            <a:lvl1pPr marL="0" indent="0">
              <a:buNone/>
              <a:defRPr sz="2800"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
        <p:nvSpPr>
          <p:cNvPr id="16" name="Text Placeholder 43">
            <a:extLst>
              <a:ext uri="{FF2B5EF4-FFF2-40B4-BE49-F238E27FC236}">
                <a16:creationId xmlns:a16="http://schemas.microsoft.com/office/drawing/2014/main" id="{5B6A213F-AF74-4411-8EC9-FBC6D18337B4}"/>
              </a:ext>
            </a:extLst>
          </p:cNvPr>
          <p:cNvSpPr>
            <a:spLocks noGrp="1"/>
          </p:cNvSpPr>
          <p:nvPr>
            <p:ph type="body" sz="quarter" idx="24" hasCustomPrompt="1"/>
          </p:nvPr>
        </p:nvSpPr>
        <p:spPr>
          <a:xfrm>
            <a:off x="1464489" y="4958953"/>
            <a:ext cx="1440287" cy="256481"/>
          </a:xfrm>
          <a:prstGeom prst="rect">
            <a:avLst/>
          </a:prstGeom>
        </p:spPr>
        <p:txBody>
          <a:bodyPr>
            <a:normAutofit/>
          </a:bodyPr>
          <a:lstStyle>
            <a:lvl1pPr marL="0" indent="0">
              <a:buNone/>
              <a:defRPr lang="en-NO" sz="1050" kern="120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Hen </a:t>
            </a:r>
            <a:r>
              <a:rPr lang="nb-NO" noProof="0" err="1"/>
              <a:t>Hennesen</a:t>
            </a:r>
            <a:endParaRPr lang="nb-NO" noProof="0"/>
          </a:p>
        </p:txBody>
      </p:sp>
      <p:sp>
        <p:nvSpPr>
          <p:cNvPr id="17" name="Text Placeholder 43">
            <a:extLst>
              <a:ext uri="{FF2B5EF4-FFF2-40B4-BE49-F238E27FC236}">
                <a16:creationId xmlns:a16="http://schemas.microsoft.com/office/drawing/2014/main" id="{AD9DFCE4-B57B-41AC-85B4-D7B137AA223C}"/>
              </a:ext>
            </a:extLst>
          </p:cNvPr>
          <p:cNvSpPr>
            <a:spLocks noGrp="1"/>
          </p:cNvSpPr>
          <p:nvPr>
            <p:ph type="body" sz="quarter" idx="25" hasCustomPrompt="1"/>
          </p:nvPr>
        </p:nvSpPr>
        <p:spPr>
          <a:xfrm>
            <a:off x="3070275" y="4625082"/>
            <a:ext cx="1440287" cy="256481"/>
          </a:xfrm>
          <a:prstGeom prst="rect">
            <a:avLst/>
          </a:prstGeom>
        </p:spPr>
        <p:txBody>
          <a:bodyPr>
            <a:normAutofit/>
          </a:bodyPr>
          <a:lstStyle>
            <a:lvl1pPr marL="0" indent="0">
              <a:buNone/>
              <a:defRPr lang="en-NO" sz="1050" kern="1200" cap="all" baseline="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TITTEL</a:t>
            </a:r>
          </a:p>
        </p:txBody>
      </p:sp>
      <p:sp>
        <p:nvSpPr>
          <p:cNvPr id="18" name="Text Placeholder 43">
            <a:extLst>
              <a:ext uri="{FF2B5EF4-FFF2-40B4-BE49-F238E27FC236}">
                <a16:creationId xmlns:a16="http://schemas.microsoft.com/office/drawing/2014/main" id="{77751DDC-CE5B-46CC-99BB-D2098F0C4005}"/>
              </a:ext>
            </a:extLst>
          </p:cNvPr>
          <p:cNvSpPr>
            <a:spLocks noGrp="1"/>
          </p:cNvSpPr>
          <p:nvPr>
            <p:ph type="body" sz="quarter" idx="26" hasCustomPrompt="1"/>
          </p:nvPr>
        </p:nvSpPr>
        <p:spPr>
          <a:xfrm>
            <a:off x="3070682" y="4958953"/>
            <a:ext cx="1440287" cy="256481"/>
          </a:xfrm>
          <a:prstGeom prst="rect">
            <a:avLst/>
          </a:prstGeom>
        </p:spPr>
        <p:txBody>
          <a:bodyPr>
            <a:normAutofit/>
          </a:bodyPr>
          <a:lstStyle>
            <a:lvl1pPr marL="0" indent="0">
              <a:buNone/>
              <a:defRPr lang="en-NO" sz="1050" kern="120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Hen </a:t>
            </a:r>
            <a:r>
              <a:rPr lang="nb-NO" noProof="0" err="1"/>
              <a:t>Hennesen</a:t>
            </a:r>
            <a:endParaRPr lang="nb-NO" noProof="0"/>
          </a:p>
        </p:txBody>
      </p:sp>
      <p:sp>
        <p:nvSpPr>
          <p:cNvPr id="19" name="Text Placeholder 43">
            <a:extLst>
              <a:ext uri="{FF2B5EF4-FFF2-40B4-BE49-F238E27FC236}">
                <a16:creationId xmlns:a16="http://schemas.microsoft.com/office/drawing/2014/main" id="{854A9599-0E03-4F99-A393-2B726FC1CF1D}"/>
              </a:ext>
            </a:extLst>
          </p:cNvPr>
          <p:cNvSpPr>
            <a:spLocks noGrp="1"/>
          </p:cNvSpPr>
          <p:nvPr>
            <p:ph type="body" sz="quarter" idx="27" hasCustomPrompt="1"/>
          </p:nvPr>
        </p:nvSpPr>
        <p:spPr>
          <a:xfrm>
            <a:off x="4676468" y="4625082"/>
            <a:ext cx="1440287" cy="256481"/>
          </a:xfrm>
          <a:prstGeom prst="rect">
            <a:avLst/>
          </a:prstGeom>
        </p:spPr>
        <p:txBody>
          <a:bodyPr>
            <a:normAutofit/>
          </a:bodyPr>
          <a:lstStyle>
            <a:lvl1pPr marL="0" indent="0">
              <a:buNone/>
              <a:defRPr lang="en-NO" sz="1050" kern="1200" cap="all" baseline="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TITTEL</a:t>
            </a:r>
          </a:p>
        </p:txBody>
      </p:sp>
      <p:sp>
        <p:nvSpPr>
          <p:cNvPr id="20" name="Text Placeholder 43">
            <a:extLst>
              <a:ext uri="{FF2B5EF4-FFF2-40B4-BE49-F238E27FC236}">
                <a16:creationId xmlns:a16="http://schemas.microsoft.com/office/drawing/2014/main" id="{8A717B5A-B8B7-4B69-B200-CC98D5A8CE52}"/>
              </a:ext>
            </a:extLst>
          </p:cNvPr>
          <p:cNvSpPr>
            <a:spLocks noGrp="1"/>
          </p:cNvSpPr>
          <p:nvPr>
            <p:ph type="body" sz="quarter" idx="28" hasCustomPrompt="1"/>
          </p:nvPr>
        </p:nvSpPr>
        <p:spPr>
          <a:xfrm>
            <a:off x="4676875" y="4958953"/>
            <a:ext cx="1440287" cy="256481"/>
          </a:xfrm>
          <a:prstGeom prst="rect">
            <a:avLst/>
          </a:prstGeom>
        </p:spPr>
        <p:txBody>
          <a:bodyPr>
            <a:normAutofit/>
          </a:bodyPr>
          <a:lstStyle>
            <a:lvl1pPr marL="0" indent="0">
              <a:buNone/>
              <a:defRPr lang="en-NO" sz="1050" kern="120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Hen </a:t>
            </a:r>
            <a:r>
              <a:rPr lang="nb-NO" noProof="0" err="1"/>
              <a:t>Hennesen</a:t>
            </a:r>
            <a:endParaRPr lang="nb-NO" noProof="0"/>
          </a:p>
        </p:txBody>
      </p:sp>
      <p:sp>
        <p:nvSpPr>
          <p:cNvPr id="21" name="Text Placeholder 43">
            <a:extLst>
              <a:ext uri="{FF2B5EF4-FFF2-40B4-BE49-F238E27FC236}">
                <a16:creationId xmlns:a16="http://schemas.microsoft.com/office/drawing/2014/main" id="{275E3578-3468-479F-967C-85961611429A}"/>
              </a:ext>
            </a:extLst>
          </p:cNvPr>
          <p:cNvSpPr>
            <a:spLocks noGrp="1"/>
          </p:cNvSpPr>
          <p:nvPr>
            <p:ph type="body" sz="quarter" idx="29" hasCustomPrompt="1"/>
          </p:nvPr>
        </p:nvSpPr>
        <p:spPr>
          <a:xfrm>
            <a:off x="6282661" y="4625082"/>
            <a:ext cx="1440287" cy="256481"/>
          </a:xfrm>
          <a:prstGeom prst="rect">
            <a:avLst/>
          </a:prstGeom>
        </p:spPr>
        <p:txBody>
          <a:bodyPr>
            <a:normAutofit/>
          </a:bodyPr>
          <a:lstStyle>
            <a:lvl1pPr marL="0" indent="0">
              <a:buNone/>
              <a:defRPr lang="en-NO" sz="1050" kern="1200" cap="all" baseline="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TITTEL</a:t>
            </a:r>
          </a:p>
        </p:txBody>
      </p:sp>
      <p:sp>
        <p:nvSpPr>
          <p:cNvPr id="22" name="Text Placeholder 43">
            <a:extLst>
              <a:ext uri="{FF2B5EF4-FFF2-40B4-BE49-F238E27FC236}">
                <a16:creationId xmlns:a16="http://schemas.microsoft.com/office/drawing/2014/main" id="{D7680D0C-9FF8-4EA2-A750-FD4B1E08B933}"/>
              </a:ext>
            </a:extLst>
          </p:cNvPr>
          <p:cNvSpPr>
            <a:spLocks noGrp="1"/>
          </p:cNvSpPr>
          <p:nvPr>
            <p:ph type="body" sz="quarter" idx="30" hasCustomPrompt="1"/>
          </p:nvPr>
        </p:nvSpPr>
        <p:spPr>
          <a:xfrm>
            <a:off x="6283068" y="4958953"/>
            <a:ext cx="1440287" cy="256481"/>
          </a:xfrm>
          <a:prstGeom prst="rect">
            <a:avLst/>
          </a:prstGeom>
        </p:spPr>
        <p:txBody>
          <a:bodyPr>
            <a:normAutofit/>
          </a:bodyPr>
          <a:lstStyle>
            <a:lvl1pPr marL="0" indent="0">
              <a:buNone/>
              <a:defRPr lang="en-NO" sz="1050" kern="120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Hen </a:t>
            </a:r>
            <a:r>
              <a:rPr lang="nb-NO" noProof="0" err="1"/>
              <a:t>Hennesen</a:t>
            </a:r>
            <a:endParaRPr lang="nb-NO" noProof="0"/>
          </a:p>
        </p:txBody>
      </p:sp>
      <p:sp>
        <p:nvSpPr>
          <p:cNvPr id="29" name="Text Placeholder 43">
            <a:extLst>
              <a:ext uri="{FF2B5EF4-FFF2-40B4-BE49-F238E27FC236}">
                <a16:creationId xmlns:a16="http://schemas.microsoft.com/office/drawing/2014/main" id="{2174DF87-DD9C-4F26-9739-C96B8CA14ECD}"/>
              </a:ext>
            </a:extLst>
          </p:cNvPr>
          <p:cNvSpPr>
            <a:spLocks noGrp="1"/>
          </p:cNvSpPr>
          <p:nvPr>
            <p:ph type="body" sz="quarter" idx="31" hasCustomPrompt="1"/>
          </p:nvPr>
        </p:nvSpPr>
        <p:spPr>
          <a:xfrm>
            <a:off x="7888854" y="4625082"/>
            <a:ext cx="1440287" cy="256481"/>
          </a:xfrm>
          <a:prstGeom prst="rect">
            <a:avLst/>
          </a:prstGeom>
        </p:spPr>
        <p:txBody>
          <a:bodyPr>
            <a:normAutofit/>
          </a:bodyPr>
          <a:lstStyle>
            <a:lvl1pPr marL="0" indent="0">
              <a:buNone/>
              <a:defRPr lang="en-NO" sz="1050" kern="1200" cap="all" baseline="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TITTEL</a:t>
            </a:r>
          </a:p>
        </p:txBody>
      </p:sp>
      <p:sp>
        <p:nvSpPr>
          <p:cNvPr id="30" name="Text Placeholder 43">
            <a:extLst>
              <a:ext uri="{FF2B5EF4-FFF2-40B4-BE49-F238E27FC236}">
                <a16:creationId xmlns:a16="http://schemas.microsoft.com/office/drawing/2014/main" id="{6C5C1C35-FF3B-4752-9875-71C26C964E7A}"/>
              </a:ext>
            </a:extLst>
          </p:cNvPr>
          <p:cNvSpPr>
            <a:spLocks noGrp="1"/>
          </p:cNvSpPr>
          <p:nvPr>
            <p:ph type="body" sz="quarter" idx="32" hasCustomPrompt="1"/>
          </p:nvPr>
        </p:nvSpPr>
        <p:spPr>
          <a:xfrm>
            <a:off x="7889261" y="4958953"/>
            <a:ext cx="1440287" cy="256481"/>
          </a:xfrm>
          <a:prstGeom prst="rect">
            <a:avLst/>
          </a:prstGeom>
        </p:spPr>
        <p:txBody>
          <a:bodyPr>
            <a:normAutofit/>
          </a:bodyPr>
          <a:lstStyle>
            <a:lvl1pPr marL="0" indent="0">
              <a:buNone/>
              <a:defRPr lang="en-NO" sz="1050" kern="120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Hen </a:t>
            </a:r>
            <a:r>
              <a:rPr lang="nb-NO" noProof="0" err="1"/>
              <a:t>Hennesen</a:t>
            </a:r>
            <a:endParaRPr lang="nb-NO" noProof="0"/>
          </a:p>
        </p:txBody>
      </p:sp>
      <p:sp>
        <p:nvSpPr>
          <p:cNvPr id="31" name="Text Placeholder 43">
            <a:extLst>
              <a:ext uri="{FF2B5EF4-FFF2-40B4-BE49-F238E27FC236}">
                <a16:creationId xmlns:a16="http://schemas.microsoft.com/office/drawing/2014/main" id="{A518452F-E319-4DBC-B581-65606C70A8A7}"/>
              </a:ext>
            </a:extLst>
          </p:cNvPr>
          <p:cNvSpPr>
            <a:spLocks noGrp="1"/>
          </p:cNvSpPr>
          <p:nvPr>
            <p:ph type="body" sz="quarter" idx="33" hasCustomPrompt="1"/>
          </p:nvPr>
        </p:nvSpPr>
        <p:spPr>
          <a:xfrm>
            <a:off x="9495047" y="4625082"/>
            <a:ext cx="1440287" cy="256481"/>
          </a:xfrm>
          <a:prstGeom prst="rect">
            <a:avLst/>
          </a:prstGeom>
        </p:spPr>
        <p:txBody>
          <a:bodyPr>
            <a:normAutofit/>
          </a:bodyPr>
          <a:lstStyle>
            <a:lvl1pPr marL="0" indent="0">
              <a:buNone/>
              <a:defRPr lang="en-NO" sz="1050" kern="1200" cap="all" baseline="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TITTEL</a:t>
            </a:r>
          </a:p>
        </p:txBody>
      </p:sp>
      <p:sp>
        <p:nvSpPr>
          <p:cNvPr id="32" name="Text Placeholder 43">
            <a:extLst>
              <a:ext uri="{FF2B5EF4-FFF2-40B4-BE49-F238E27FC236}">
                <a16:creationId xmlns:a16="http://schemas.microsoft.com/office/drawing/2014/main" id="{A4039489-543D-4674-867A-98A71D5E040A}"/>
              </a:ext>
            </a:extLst>
          </p:cNvPr>
          <p:cNvSpPr>
            <a:spLocks noGrp="1"/>
          </p:cNvSpPr>
          <p:nvPr>
            <p:ph type="body" sz="quarter" idx="34" hasCustomPrompt="1"/>
          </p:nvPr>
        </p:nvSpPr>
        <p:spPr>
          <a:xfrm>
            <a:off x="9495454" y="4958953"/>
            <a:ext cx="1440287" cy="256481"/>
          </a:xfrm>
          <a:prstGeom prst="rect">
            <a:avLst/>
          </a:prstGeom>
        </p:spPr>
        <p:txBody>
          <a:bodyPr>
            <a:normAutofit/>
          </a:bodyPr>
          <a:lstStyle>
            <a:lvl1pPr marL="0" indent="0">
              <a:buNone/>
              <a:defRPr lang="en-NO" sz="1050" kern="1200" dirty="0" smtClean="0">
                <a:solidFill>
                  <a:schemeClr val="bg2"/>
                </a:solidFill>
                <a:latin typeface="Inter" panose="020B0502030000000004" pitchFamily="34" charset="0"/>
                <a:ea typeface="Inter" panose="020B0502030000000004" pitchFamily="34" charset="0"/>
                <a:cs typeface="+mn-cs"/>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pPr>
            <a:r>
              <a:rPr lang="nb-NO" noProof="0"/>
              <a:t>Hen </a:t>
            </a:r>
            <a:r>
              <a:rPr lang="nb-NO" noProof="0" err="1"/>
              <a:t>Hennesen</a:t>
            </a:r>
            <a:endParaRPr lang="nb-NO" noProof="0"/>
          </a:p>
        </p:txBody>
      </p:sp>
    </p:spTree>
    <p:extLst>
      <p:ext uri="{BB962C8B-B14F-4D97-AF65-F5344CB8AC3E}">
        <p14:creationId xmlns:p14="http://schemas.microsoft.com/office/powerpoint/2010/main" val="3180054840"/>
      </p:ext>
    </p:extLst>
  </p:cSld>
  <p:clrMapOvr>
    <a:masterClrMapping/>
  </p:clrMapOvr>
  <p:extLst>
    <p:ext uri="{DCECCB84-F9BA-43D5-87BE-67443E8EF086}">
      <p15:sldGuideLst xmlns:p15="http://schemas.microsoft.com/office/powerpoint/2012/main">
        <p15:guide id="1" orient="horz" pos="82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lde og teks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FE7617F-1713-6E46-B84A-8052BACCF13F}"/>
              </a:ext>
            </a:extLst>
          </p:cNvPr>
          <p:cNvSpPr>
            <a:spLocks noGrp="1"/>
          </p:cNvSpPr>
          <p:nvPr>
            <p:ph type="pic" sz="quarter" idx="12"/>
          </p:nvPr>
        </p:nvSpPr>
        <p:spPr>
          <a:xfrm>
            <a:off x="839788" y="728663"/>
            <a:ext cx="6958012" cy="3959225"/>
          </a:xfrm>
          <a:prstGeom prst="rect">
            <a:avLst/>
          </a:prstGeom>
        </p:spPr>
        <p:txBody>
          <a:bodyPr anchor="ctr"/>
          <a:lstStyle>
            <a:lvl1pPr marL="0" indent="0" algn="ctr">
              <a:buNone/>
              <a:defRPr sz="16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3" name="Content Placeholder 2">
            <a:extLst>
              <a:ext uri="{FF2B5EF4-FFF2-40B4-BE49-F238E27FC236}">
                <a16:creationId xmlns:a16="http://schemas.microsoft.com/office/drawing/2014/main" id="{B3758083-FE02-453F-821F-FBDFB3E24326}"/>
              </a:ext>
            </a:extLst>
          </p:cNvPr>
          <p:cNvSpPr>
            <a:spLocks noGrp="1"/>
          </p:cNvSpPr>
          <p:nvPr>
            <p:ph sz="quarter" idx="14"/>
          </p:nvPr>
        </p:nvSpPr>
        <p:spPr>
          <a:xfrm>
            <a:off x="839788" y="5083175"/>
            <a:ext cx="10512425" cy="1117600"/>
          </a:xfrm>
        </p:spPr>
        <p:txBody>
          <a:bodyPr/>
          <a:lstStyle>
            <a:lvl1pPr marL="0" indent="0">
              <a:buNone/>
              <a:defRPr/>
            </a:lvl1pPr>
          </a:lstStyle>
          <a:p>
            <a:pPr lvl="0"/>
            <a:r>
              <a:rPr lang="en-GB" noProof="0"/>
              <a:t>Click to edit Master text styles</a:t>
            </a:r>
          </a:p>
        </p:txBody>
      </p:sp>
    </p:spTree>
    <p:extLst>
      <p:ext uri="{BB962C8B-B14F-4D97-AF65-F5344CB8AC3E}">
        <p14:creationId xmlns:p14="http://schemas.microsoft.com/office/powerpoint/2010/main" val="8754660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lde, tittel og tekst">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FBDFA3C1-F872-0847-9544-A55FC81CE32D}"/>
              </a:ext>
            </a:extLst>
          </p:cNvPr>
          <p:cNvSpPr>
            <a:spLocks noGrp="1"/>
          </p:cNvSpPr>
          <p:nvPr>
            <p:ph type="pic" sz="quarter" idx="14"/>
          </p:nvPr>
        </p:nvSpPr>
        <p:spPr>
          <a:xfrm>
            <a:off x="0" y="0"/>
            <a:ext cx="6095999" cy="6858000"/>
          </a:xfrm>
          <a:prstGeom prst="rect">
            <a:avLst/>
          </a:prstGeom>
        </p:spPr>
        <p:txBody>
          <a:bodyPr anchor="ctr"/>
          <a:lstStyle>
            <a:lvl1pPr marL="0" indent="0" algn="ctr">
              <a:buNone/>
              <a:defRPr sz="16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2" name="Title 1">
            <a:extLst>
              <a:ext uri="{FF2B5EF4-FFF2-40B4-BE49-F238E27FC236}">
                <a16:creationId xmlns:a16="http://schemas.microsoft.com/office/drawing/2014/main" id="{FD747144-F823-49DE-9E9C-B4AF1D0F00C6}"/>
              </a:ext>
            </a:extLst>
          </p:cNvPr>
          <p:cNvSpPr>
            <a:spLocks noGrp="1"/>
          </p:cNvSpPr>
          <p:nvPr>
            <p:ph type="title"/>
          </p:nvPr>
        </p:nvSpPr>
        <p:spPr>
          <a:xfrm>
            <a:off x="7356475" y="2097088"/>
            <a:ext cx="3995737" cy="1027112"/>
          </a:xfrm>
        </p:spPr>
        <p:txBody>
          <a:bodyPr>
            <a:normAutofit/>
          </a:bodyPr>
          <a:lstStyle>
            <a:lvl1pPr>
              <a:defRPr sz="2400"/>
            </a:lvl1pPr>
          </a:lstStyle>
          <a:p>
            <a:r>
              <a:rPr lang="en-GB" noProof="0"/>
              <a:t>Click to edit Master title style</a:t>
            </a:r>
            <a:endParaRPr lang="nb-NO" noProof="0"/>
          </a:p>
        </p:txBody>
      </p:sp>
      <p:sp>
        <p:nvSpPr>
          <p:cNvPr id="4" name="Text Placeholder 3">
            <a:extLst>
              <a:ext uri="{FF2B5EF4-FFF2-40B4-BE49-F238E27FC236}">
                <a16:creationId xmlns:a16="http://schemas.microsoft.com/office/drawing/2014/main" id="{A21E14F4-85CE-49B2-9FE4-DB9D47B88617}"/>
              </a:ext>
            </a:extLst>
          </p:cNvPr>
          <p:cNvSpPr>
            <a:spLocks noGrp="1"/>
          </p:cNvSpPr>
          <p:nvPr>
            <p:ph type="body" sz="quarter" idx="19"/>
          </p:nvPr>
        </p:nvSpPr>
        <p:spPr>
          <a:xfrm>
            <a:off x="7356475" y="3124200"/>
            <a:ext cx="3995737" cy="3076575"/>
          </a:xfrm>
        </p:spPr>
        <p:txBody>
          <a:bodyPr>
            <a:normAutofit/>
          </a:bodyPr>
          <a:lstStyle>
            <a:lvl1pPr>
              <a:defRPr sz="1800"/>
            </a:lvl1pPr>
          </a:lstStyle>
          <a:p>
            <a:pPr lvl="0"/>
            <a:r>
              <a:rPr lang="en-GB" noProof="0"/>
              <a:t>Click to edit Master text styles</a:t>
            </a:r>
          </a:p>
        </p:txBody>
      </p:sp>
    </p:spTree>
    <p:extLst>
      <p:ext uri="{BB962C8B-B14F-4D97-AF65-F5344CB8AC3E}">
        <p14:creationId xmlns:p14="http://schemas.microsoft.com/office/powerpoint/2010/main" val="662883502"/>
      </p:ext>
    </p:extLst>
  </p:cSld>
  <p:clrMapOvr>
    <a:masterClrMapping/>
  </p:clrMapOvr>
  <p:extLst>
    <p:ext uri="{DCECCB84-F9BA-43D5-87BE-67443E8EF086}">
      <p15:sldGuideLst xmlns:p15="http://schemas.microsoft.com/office/powerpoint/2012/main">
        <p15:guide id="1" pos="3840">
          <p15:clr>
            <a:srgbClr val="FBAE40"/>
          </p15:clr>
        </p15:guide>
        <p15:guide id="2" pos="463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lde helside og tekst i boks">
    <p:spTree>
      <p:nvGrpSpPr>
        <p:cNvPr id="1" name=""/>
        <p:cNvGrpSpPr/>
        <p:nvPr/>
      </p:nvGrpSpPr>
      <p:grpSpPr>
        <a:xfrm>
          <a:off x="0" y="0"/>
          <a:ext cx="0" cy="0"/>
          <a:chOff x="0" y="0"/>
          <a:chExt cx="0" cy="0"/>
        </a:xfrm>
      </p:grpSpPr>
      <p:sp>
        <p:nvSpPr>
          <p:cNvPr id="16" name="Picture Placeholder 7">
            <a:extLst>
              <a:ext uri="{FF2B5EF4-FFF2-40B4-BE49-F238E27FC236}">
                <a16:creationId xmlns:a16="http://schemas.microsoft.com/office/drawing/2014/main" id="{DDC61C69-7FAC-EB45-A815-46BB22141150}"/>
              </a:ext>
            </a:extLst>
          </p:cNvPr>
          <p:cNvSpPr>
            <a:spLocks noGrp="1"/>
          </p:cNvSpPr>
          <p:nvPr>
            <p:ph type="pic" sz="quarter" idx="15"/>
          </p:nvPr>
        </p:nvSpPr>
        <p:spPr>
          <a:xfrm>
            <a:off x="0" y="0"/>
            <a:ext cx="12192000" cy="6858000"/>
          </a:xfrm>
          <a:prstGeom prst="rect">
            <a:avLst/>
          </a:prstGeom>
        </p:spPr>
        <p:txBody>
          <a:bodyPr anchor="ctr"/>
          <a:lstStyle>
            <a:lvl1pPr marL="0" indent="0" algn="ctr">
              <a:buNone/>
              <a:defRPr sz="1600" b="1">
                <a:solidFill>
                  <a:schemeClr val="bg2"/>
                </a:solidFill>
                <a:latin typeface="Inter" panose="020B0502030000000004" pitchFamily="34" charset="0"/>
                <a:ea typeface="Inter" panose="020B0502030000000004" pitchFamily="34" charset="0"/>
              </a:defRPr>
            </a:lvl1pPr>
          </a:lstStyle>
          <a:p>
            <a:r>
              <a:rPr lang="en-GB" noProof="0"/>
              <a:t>Click icon to add picture</a:t>
            </a:r>
            <a:endParaRPr lang="nb-NO" noProof="0"/>
          </a:p>
        </p:txBody>
      </p:sp>
      <p:sp>
        <p:nvSpPr>
          <p:cNvPr id="8" name="Text Placeholder 7">
            <a:extLst>
              <a:ext uri="{FF2B5EF4-FFF2-40B4-BE49-F238E27FC236}">
                <a16:creationId xmlns:a16="http://schemas.microsoft.com/office/drawing/2014/main" id="{B506C54D-ABD6-4B86-9BD8-3EF0CB94059E}"/>
              </a:ext>
            </a:extLst>
          </p:cNvPr>
          <p:cNvSpPr>
            <a:spLocks noGrp="1"/>
          </p:cNvSpPr>
          <p:nvPr>
            <p:ph type="body" sz="quarter" idx="20" hasCustomPrompt="1"/>
          </p:nvPr>
        </p:nvSpPr>
        <p:spPr>
          <a:xfrm>
            <a:off x="839788" y="3457575"/>
            <a:ext cx="4583112" cy="2743200"/>
          </a:xfrm>
          <a:solidFill>
            <a:schemeClr val="tx2"/>
          </a:solidFill>
        </p:spPr>
        <p:txBody>
          <a:bodyPr/>
          <a:lstStyle>
            <a:lvl1pPr marL="0" indent="0">
              <a:buNone/>
              <a:defRPr/>
            </a:lvl1pPr>
          </a:lstStyle>
          <a:p>
            <a:pPr lvl="0"/>
            <a:r>
              <a:rPr lang="nb-NO" noProof="0"/>
              <a:t> </a:t>
            </a:r>
          </a:p>
        </p:txBody>
      </p:sp>
      <p:sp>
        <p:nvSpPr>
          <p:cNvPr id="2" name="Title 1">
            <a:extLst>
              <a:ext uri="{FF2B5EF4-FFF2-40B4-BE49-F238E27FC236}">
                <a16:creationId xmlns:a16="http://schemas.microsoft.com/office/drawing/2014/main" id="{73389121-44BA-433B-83C4-D11B94CACB42}"/>
              </a:ext>
            </a:extLst>
          </p:cNvPr>
          <p:cNvSpPr>
            <a:spLocks noGrp="1"/>
          </p:cNvSpPr>
          <p:nvPr>
            <p:ph type="title"/>
          </p:nvPr>
        </p:nvSpPr>
        <p:spPr>
          <a:xfrm>
            <a:off x="1189073" y="3838188"/>
            <a:ext cx="3884612" cy="901451"/>
          </a:xfrm>
        </p:spPr>
        <p:txBody>
          <a:bodyPr>
            <a:normAutofit/>
          </a:bodyPr>
          <a:lstStyle>
            <a:lvl1pPr>
              <a:defRPr sz="2400"/>
            </a:lvl1pPr>
          </a:lstStyle>
          <a:p>
            <a:r>
              <a:rPr lang="en-GB" noProof="0"/>
              <a:t>Click to edit Master title style</a:t>
            </a:r>
            <a:endParaRPr lang="nb-NO" noProof="0"/>
          </a:p>
        </p:txBody>
      </p:sp>
      <p:sp>
        <p:nvSpPr>
          <p:cNvPr id="7" name="Text Placeholder 3">
            <a:extLst>
              <a:ext uri="{FF2B5EF4-FFF2-40B4-BE49-F238E27FC236}">
                <a16:creationId xmlns:a16="http://schemas.microsoft.com/office/drawing/2014/main" id="{C0D75F25-8BE2-4558-8378-251C0277BCA1}"/>
              </a:ext>
            </a:extLst>
          </p:cNvPr>
          <p:cNvSpPr>
            <a:spLocks noGrp="1"/>
          </p:cNvSpPr>
          <p:nvPr>
            <p:ph type="body" sz="quarter" idx="19"/>
          </p:nvPr>
        </p:nvSpPr>
        <p:spPr>
          <a:xfrm>
            <a:off x="1189074" y="4865300"/>
            <a:ext cx="3884612" cy="1027113"/>
          </a:xfrm>
        </p:spPr>
        <p:txBody>
          <a:bodyPr>
            <a:normAutofit/>
          </a:bodyPr>
          <a:lstStyle>
            <a:lvl1pPr marL="0" indent="0">
              <a:buNone/>
              <a:defRPr sz="1800"/>
            </a:lvl1pPr>
          </a:lstStyle>
          <a:p>
            <a:pPr lvl="0"/>
            <a:r>
              <a:rPr lang="en-GB" noProof="0"/>
              <a:t>Click to edit Master text styles</a:t>
            </a:r>
          </a:p>
        </p:txBody>
      </p:sp>
    </p:spTree>
    <p:extLst>
      <p:ext uri="{BB962C8B-B14F-4D97-AF65-F5344CB8AC3E}">
        <p14:creationId xmlns:p14="http://schemas.microsoft.com/office/powerpoint/2010/main" val="4168576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Kapittel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spTree>
    <p:extLst>
      <p:ext uri="{BB962C8B-B14F-4D97-AF65-F5344CB8AC3E}">
        <p14:creationId xmlns:p14="http://schemas.microsoft.com/office/powerpoint/2010/main" val="1891546080"/>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apittel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grpSp>
        <p:nvGrpSpPr>
          <p:cNvPr id="3" name="Group 2">
            <a:extLst>
              <a:ext uri="{FF2B5EF4-FFF2-40B4-BE49-F238E27FC236}">
                <a16:creationId xmlns:a16="http://schemas.microsoft.com/office/drawing/2014/main" id="{F3AC0D0B-6F84-4D31-A25F-04E1D9B501A5}"/>
              </a:ext>
            </a:extLst>
          </p:cNvPr>
          <p:cNvGrpSpPr/>
          <p:nvPr userDrawn="1"/>
        </p:nvGrpSpPr>
        <p:grpSpPr>
          <a:xfrm>
            <a:off x="660300" y="2885033"/>
            <a:ext cx="3312004" cy="3338170"/>
            <a:chOff x="660300" y="2885033"/>
            <a:chExt cx="3312004" cy="3338170"/>
          </a:xfrm>
        </p:grpSpPr>
        <p:sp>
          <p:nvSpPr>
            <p:cNvPr id="8" name="Freeform: Shape 7">
              <a:extLst>
                <a:ext uri="{FF2B5EF4-FFF2-40B4-BE49-F238E27FC236}">
                  <a16:creationId xmlns:a16="http://schemas.microsoft.com/office/drawing/2014/main" id="{6FFD3805-A73E-48C5-8D29-6B8002E43B18}"/>
                </a:ext>
              </a:extLst>
            </p:cNvPr>
            <p:cNvSpPr/>
            <p:nvPr/>
          </p:nvSpPr>
          <p:spPr>
            <a:xfrm>
              <a:off x="1395615" y="3633814"/>
              <a:ext cx="2576689" cy="2589389"/>
            </a:xfrm>
            <a:custGeom>
              <a:avLst/>
              <a:gdLst>
                <a:gd name="connsiteX0" fmla="*/ 2576690 w 2576689"/>
                <a:gd name="connsiteY0" fmla="*/ 2589389 h 2589389"/>
                <a:gd name="connsiteX1" fmla="*/ 0 w 2576689"/>
                <a:gd name="connsiteY1" fmla="*/ 2589389 h 2589389"/>
                <a:gd name="connsiteX2" fmla="*/ 0 w 2576689"/>
                <a:gd name="connsiteY2" fmla="*/ 0 h 2589389"/>
                <a:gd name="connsiteX3" fmla="*/ 11599 w 2576689"/>
                <a:gd name="connsiteY3" fmla="*/ 874 h 2589389"/>
                <a:gd name="connsiteX4" fmla="*/ 990588 w 2576689"/>
                <a:gd name="connsiteY4" fmla="*/ 766757 h 2589389"/>
                <a:gd name="connsiteX5" fmla="*/ 2290581 w 2576689"/>
                <a:gd name="connsiteY5" fmla="*/ 2273846 h 2589389"/>
                <a:gd name="connsiteX6" fmla="*/ 2568112 w 2576689"/>
                <a:gd name="connsiteY6" fmla="*/ 2573475 h 2589389"/>
                <a:gd name="connsiteX7" fmla="*/ 21579 w 2576689"/>
                <a:gd name="connsiteY7" fmla="*/ 2567810 h 2589389"/>
                <a:gd name="connsiteX8" fmla="*/ 2540286 w 2576689"/>
                <a:gd name="connsiteY8" fmla="*/ 2567810 h 2589389"/>
                <a:gd name="connsiteX9" fmla="*/ 2278539 w 2576689"/>
                <a:gd name="connsiteY9" fmla="*/ 2291757 h 2589389"/>
                <a:gd name="connsiteX10" fmla="*/ 970832 w 2576689"/>
                <a:gd name="connsiteY10" fmla="*/ 775431 h 2589389"/>
                <a:gd name="connsiteX11" fmla="*/ 21579 w 2576689"/>
                <a:gd name="connsiteY11" fmla="*/ 23273 h 258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6689" h="2589389">
                  <a:moveTo>
                    <a:pt x="2576690" y="2589389"/>
                  </a:moveTo>
                  <a:lnTo>
                    <a:pt x="0" y="2589389"/>
                  </a:lnTo>
                  <a:lnTo>
                    <a:pt x="0" y="0"/>
                  </a:lnTo>
                  <a:lnTo>
                    <a:pt x="11599" y="874"/>
                  </a:lnTo>
                  <a:cubicBezTo>
                    <a:pt x="516339" y="38983"/>
                    <a:pt x="754230" y="225083"/>
                    <a:pt x="990588" y="766757"/>
                  </a:cubicBezTo>
                  <a:cubicBezTo>
                    <a:pt x="1276956" y="1416219"/>
                    <a:pt x="1653591" y="1852801"/>
                    <a:pt x="2290581" y="2273846"/>
                  </a:cubicBezTo>
                  <a:cubicBezTo>
                    <a:pt x="2412450" y="2357045"/>
                    <a:pt x="2505780" y="2457831"/>
                    <a:pt x="2568112" y="2573475"/>
                  </a:cubicBezTo>
                  <a:close/>
                  <a:moveTo>
                    <a:pt x="21579" y="2567810"/>
                  </a:moveTo>
                  <a:lnTo>
                    <a:pt x="2540286" y="2567810"/>
                  </a:lnTo>
                  <a:cubicBezTo>
                    <a:pt x="2479745" y="2461866"/>
                    <a:pt x="2391776" y="2369065"/>
                    <a:pt x="2278539" y="2291757"/>
                  </a:cubicBezTo>
                  <a:cubicBezTo>
                    <a:pt x="1637935" y="1868327"/>
                    <a:pt x="1259024" y="1428994"/>
                    <a:pt x="970832" y="775431"/>
                  </a:cubicBezTo>
                  <a:cubicBezTo>
                    <a:pt x="740214" y="246921"/>
                    <a:pt x="508538" y="62655"/>
                    <a:pt x="21579" y="23273"/>
                  </a:cubicBezTo>
                  <a:close/>
                </a:path>
              </a:pathLst>
            </a:custGeom>
            <a:solidFill>
              <a:schemeClr val="bg1"/>
            </a:solidFill>
            <a:ln w="10781"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9B77F8E-5EE5-4409-A445-67FC53D39443}"/>
                </a:ext>
              </a:extLst>
            </p:cNvPr>
            <p:cNvSpPr/>
            <p:nvPr/>
          </p:nvSpPr>
          <p:spPr>
            <a:xfrm>
              <a:off x="1901726" y="5383573"/>
              <a:ext cx="727687" cy="626318"/>
            </a:xfrm>
            <a:custGeom>
              <a:avLst/>
              <a:gdLst>
                <a:gd name="connsiteX0" fmla="*/ 363860 w 727687"/>
                <a:gd name="connsiteY0" fmla="*/ 0 h 626318"/>
                <a:gd name="connsiteX1" fmla="*/ 727687 w 727687"/>
                <a:gd name="connsiteY1" fmla="*/ 626318 h 626318"/>
                <a:gd name="connsiteX2" fmla="*/ 0 w 727687"/>
                <a:gd name="connsiteY2" fmla="*/ 626318 h 626318"/>
              </a:gdLst>
              <a:ahLst/>
              <a:cxnLst>
                <a:cxn ang="0">
                  <a:pos x="connsiteX0" y="connsiteY0"/>
                </a:cxn>
                <a:cxn ang="0">
                  <a:pos x="connsiteX1" y="connsiteY1"/>
                </a:cxn>
                <a:cxn ang="0">
                  <a:pos x="connsiteX2" y="connsiteY2"/>
                </a:cxn>
              </a:cxnLst>
              <a:rect l="l" t="t" r="r" b="b"/>
              <a:pathLst>
                <a:path w="727687" h="626318">
                  <a:moveTo>
                    <a:pt x="363860" y="0"/>
                  </a:moveTo>
                  <a:lnTo>
                    <a:pt x="727687" y="626318"/>
                  </a:lnTo>
                  <a:lnTo>
                    <a:pt x="0" y="626318"/>
                  </a:lnTo>
                  <a:close/>
                </a:path>
              </a:pathLst>
            </a:custGeom>
            <a:solidFill>
              <a:schemeClr val="accent2"/>
            </a:solidFill>
            <a:ln w="10781"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929F0D6-100E-48B8-8537-F06E249EB5EE}"/>
                </a:ext>
              </a:extLst>
            </p:cNvPr>
            <p:cNvSpPr/>
            <p:nvPr/>
          </p:nvSpPr>
          <p:spPr>
            <a:xfrm>
              <a:off x="2408149" y="5383573"/>
              <a:ext cx="727730" cy="626318"/>
            </a:xfrm>
            <a:custGeom>
              <a:avLst/>
              <a:gdLst>
                <a:gd name="connsiteX0" fmla="*/ 363860 w 727730"/>
                <a:gd name="connsiteY0" fmla="*/ 0 h 626318"/>
                <a:gd name="connsiteX1" fmla="*/ 727730 w 727730"/>
                <a:gd name="connsiteY1" fmla="*/ 626318 h 626318"/>
                <a:gd name="connsiteX2" fmla="*/ 0 w 727730"/>
                <a:gd name="connsiteY2" fmla="*/ 626318 h 626318"/>
              </a:gdLst>
              <a:ahLst/>
              <a:cxnLst>
                <a:cxn ang="0">
                  <a:pos x="connsiteX0" y="connsiteY0"/>
                </a:cxn>
                <a:cxn ang="0">
                  <a:pos x="connsiteX1" y="connsiteY1"/>
                </a:cxn>
                <a:cxn ang="0">
                  <a:pos x="connsiteX2" y="connsiteY2"/>
                </a:cxn>
              </a:cxnLst>
              <a:rect l="l" t="t" r="r" b="b"/>
              <a:pathLst>
                <a:path w="727730" h="626318">
                  <a:moveTo>
                    <a:pt x="363860" y="0"/>
                  </a:moveTo>
                  <a:lnTo>
                    <a:pt x="727730" y="626318"/>
                  </a:lnTo>
                  <a:lnTo>
                    <a:pt x="0" y="626318"/>
                  </a:lnTo>
                  <a:close/>
                </a:path>
              </a:pathLst>
            </a:custGeom>
            <a:solidFill>
              <a:schemeClr val="accent2"/>
            </a:solidFill>
            <a:ln w="1078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0EF8AA0-24FF-46DD-861B-53C5A07732F4}"/>
                </a:ext>
              </a:extLst>
            </p:cNvPr>
            <p:cNvSpPr/>
            <p:nvPr/>
          </p:nvSpPr>
          <p:spPr>
            <a:xfrm>
              <a:off x="965548" y="2885033"/>
              <a:ext cx="882294" cy="1860137"/>
            </a:xfrm>
            <a:custGeom>
              <a:avLst/>
              <a:gdLst>
                <a:gd name="connsiteX0" fmla="*/ 882294 w 882294"/>
                <a:gd name="connsiteY0" fmla="*/ 0 h 1860137"/>
                <a:gd name="connsiteX1" fmla="*/ 882294 w 882294"/>
                <a:gd name="connsiteY1" fmla="*/ 0 h 1860137"/>
                <a:gd name="connsiteX2" fmla="*/ 1318 w 882294"/>
                <a:gd name="connsiteY2" fmla="*/ 979162 h 1860137"/>
                <a:gd name="connsiteX3" fmla="*/ 882294 w 882294"/>
                <a:gd name="connsiteY3" fmla="*/ 1860138 h 1860137"/>
                <a:gd name="connsiteX4" fmla="*/ 882294 w 882294"/>
                <a:gd name="connsiteY4" fmla="*/ 0 h 1860137"/>
                <a:gd name="connsiteX5" fmla="*/ 882294 w 882294"/>
                <a:gd name="connsiteY5" fmla="*/ 0 h 186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294" h="1860137">
                  <a:moveTo>
                    <a:pt x="882294" y="0"/>
                  </a:moveTo>
                  <a:lnTo>
                    <a:pt x="882294" y="0"/>
                  </a:lnTo>
                  <a:cubicBezTo>
                    <a:pt x="368632" y="27113"/>
                    <a:pt x="-25795" y="465499"/>
                    <a:pt x="1318" y="979162"/>
                  </a:cubicBezTo>
                  <a:cubicBezTo>
                    <a:pt x="26431" y="1454922"/>
                    <a:pt x="406534" y="1835025"/>
                    <a:pt x="882294" y="1860138"/>
                  </a:cubicBezTo>
                  <a:lnTo>
                    <a:pt x="882294" y="0"/>
                  </a:lnTo>
                  <a:lnTo>
                    <a:pt x="882294" y="0"/>
                  </a:lnTo>
                  <a:close/>
                </a:path>
              </a:pathLst>
            </a:custGeom>
            <a:solidFill>
              <a:schemeClr val="accent3"/>
            </a:solidFill>
            <a:ln w="1078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33C69646-F568-4729-972C-0E5394F25F80}"/>
                </a:ext>
              </a:extLst>
            </p:cNvPr>
            <p:cNvSpPr/>
            <p:nvPr/>
          </p:nvSpPr>
          <p:spPr>
            <a:xfrm>
              <a:off x="660300" y="4764635"/>
              <a:ext cx="1187542" cy="1247501"/>
            </a:xfrm>
            <a:custGeom>
              <a:avLst/>
              <a:gdLst>
                <a:gd name="connsiteX0" fmla="*/ 1187543 w 1187542"/>
                <a:gd name="connsiteY0" fmla="*/ 1247501 h 1247501"/>
                <a:gd name="connsiteX1" fmla="*/ 1187543 w 1187542"/>
                <a:gd name="connsiteY1" fmla="*/ 1247501 h 1247501"/>
                <a:gd name="connsiteX2" fmla="*/ 1187543 w 1187542"/>
                <a:gd name="connsiteY2" fmla="*/ 0 h 1247501"/>
                <a:gd name="connsiteX3" fmla="*/ 0 w 1187542"/>
                <a:gd name="connsiteY3" fmla="*/ 0 h 1247501"/>
                <a:gd name="connsiteX4" fmla="*/ 0 w 1187542"/>
                <a:gd name="connsiteY4" fmla="*/ 637 h 1247501"/>
                <a:gd name="connsiteX5" fmla="*/ 946469 w 1187542"/>
                <a:gd name="connsiteY5" fmla="*/ 1210935 h 1247501"/>
                <a:gd name="connsiteX6" fmla="*/ 1187542 w 1187542"/>
                <a:gd name="connsiteY6" fmla="*/ 1247501 h 124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7542" h="1247501">
                  <a:moveTo>
                    <a:pt x="1187543" y="1247501"/>
                  </a:moveTo>
                  <a:lnTo>
                    <a:pt x="1187543" y="1247501"/>
                  </a:lnTo>
                  <a:lnTo>
                    <a:pt x="1187543" y="0"/>
                  </a:lnTo>
                  <a:lnTo>
                    <a:pt x="0" y="0"/>
                  </a:lnTo>
                  <a:lnTo>
                    <a:pt x="0" y="637"/>
                  </a:lnTo>
                  <a:cubicBezTo>
                    <a:pt x="2143" y="572850"/>
                    <a:pt x="391645" y="1070926"/>
                    <a:pt x="946469" y="1210935"/>
                  </a:cubicBezTo>
                  <a:cubicBezTo>
                    <a:pt x="1025466" y="1230837"/>
                    <a:pt x="1106197" y="1243083"/>
                    <a:pt x="1187542" y="1247501"/>
                  </a:cubicBezTo>
                  <a:close/>
                </a:path>
              </a:pathLst>
            </a:custGeom>
            <a:solidFill>
              <a:schemeClr val="bg2"/>
            </a:solidFill>
            <a:ln w="10781" cap="flat">
              <a:noFill/>
              <a:prstDash val="solid"/>
              <a:miter/>
            </a:ln>
          </p:spPr>
          <p:txBody>
            <a:bodyPr rtlCol="0" anchor="ctr"/>
            <a:lstStyle/>
            <a:p>
              <a:endParaRPr lang="en-US"/>
            </a:p>
          </p:txBody>
        </p:sp>
      </p:grpSp>
    </p:spTree>
    <p:extLst>
      <p:ext uri="{BB962C8B-B14F-4D97-AF65-F5344CB8AC3E}">
        <p14:creationId xmlns:p14="http://schemas.microsoft.com/office/powerpoint/2010/main" val="3991015421"/>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apittel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grpSp>
        <p:nvGrpSpPr>
          <p:cNvPr id="3" name="Group 2">
            <a:extLst>
              <a:ext uri="{FF2B5EF4-FFF2-40B4-BE49-F238E27FC236}">
                <a16:creationId xmlns:a16="http://schemas.microsoft.com/office/drawing/2014/main" id="{812A921C-B8BF-4561-8982-2D1A032AA17E}"/>
              </a:ext>
            </a:extLst>
          </p:cNvPr>
          <p:cNvGrpSpPr/>
          <p:nvPr userDrawn="1"/>
        </p:nvGrpSpPr>
        <p:grpSpPr>
          <a:xfrm>
            <a:off x="8730248" y="4495606"/>
            <a:ext cx="2972304" cy="1825959"/>
            <a:chOff x="8730248" y="4495606"/>
            <a:chExt cx="2972304" cy="1825959"/>
          </a:xfrm>
        </p:grpSpPr>
        <p:sp>
          <p:nvSpPr>
            <p:cNvPr id="7" name="Freeform: Shape 6">
              <a:extLst>
                <a:ext uri="{FF2B5EF4-FFF2-40B4-BE49-F238E27FC236}">
                  <a16:creationId xmlns:a16="http://schemas.microsoft.com/office/drawing/2014/main" id="{5FB70C33-473A-4FBA-B104-7347AC4ECF1D}"/>
                </a:ext>
              </a:extLst>
            </p:cNvPr>
            <p:cNvSpPr/>
            <p:nvPr/>
          </p:nvSpPr>
          <p:spPr>
            <a:xfrm>
              <a:off x="10524563" y="4846082"/>
              <a:ext cx="874726" cy="1475483"/>
            </a:xfrm>
            <a:custGeom>
              <a:avLst/>
              <a:gdLst>
                <a:gd name="connsiteX0" fmla="*/ 0 w 874726"/>
                <a:gd name="connsiteY0" fmla="*/ 0 h 1475483"/>
                <a:gd name="connsiteX1" fmla="*/ 874726 w 874726"/>
                <a:gd name="connsiteY1" fmla="*/ 0 h 1475483"/>
                <a:gd name="connsiteX2" fmla="*/ 874726 w 874726"/>
                <a:gd name="connsiteY2" fmla="*/ 1475484 h 1475483"/>
                <a:gd name="connsiteX3" fmla="*/ 0 w 874726"/>
                <a:gd name="connsiteY3" fmla="*/ 1475484 h 1475483"/>
              </a:gdLst>
              <a:ahLst/>
              <a:cxnLst>
                <a:cxn ang="0">
                  <a:pos x="connsiteX0" y="connsiteY0"/>
                </a:cxn>
                <a:cxn ang="0">
                  <a:pos x="connsiteX1" y="connsiteY1"/>
                </a:cxn>
                <a:cxn ang="0">
                  <a:pos x="connsiteX2" y="connsiteY2"/>
                </a:cxn>
                <a:cxn ang="0">
                  <a:pos x="connsiteX3" y="connsiteY3"/>
                </a:cxn>
              </a:cxnLst>
              <a:rect l="l" t="t" r="r" b="b"/>
              <a:pathLst>
                <a:path w="874726" h="1475483">
                  <a:moveTo>
                    <a:pt x="0" y="0"/>
                  </a:moveTo>
                  <a:lnTo>
                    <a:pt x="874726" y="0"/>
                  </a:lnTo>
                  <a:lnTo>
                    <a:pt x="874726" y="1475484"/>
                  </a:lnTo>
                  <a:lnTo>
                    <a:pt x="0" y="1475484"/>
                  </a:lnTo>
                  <a:close/>
                </a:path>
              </a:pathLst>
            </a:custGeom>
            <a:solidFill>
              <a:schemeClr val="accent4"/>
            </a:solidFill>
            <a:ln w="804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65AAF6BB-5C96-42D5-BC42-4B3E5BF03DFE}"/>
                </a:ext>
              </a:extLst>
            </p:cNvPr>
            <p:cNvSpPr/>
            <p:nvPr/>
          </p:nvSpPr>
          <p:spPr>
            <a:xfrm>
              <a:off x="9172953" y="5935535"/>
              <a:ext cx="447227" cy="386030"/>
            </a:xfrm>
            <a:custGeom>
              <a:avLst/>
              <a:gdLst>
                <a:gd name="connsiteX0" fmla="*/ 223618 w 447227"/>
                <a:gd name="connsiteY0" fmla="*/ 0 h 386030"/>
                <a:gd name="connsiteX1" fmla="*/ 447227 w 447227"/>
                <a:gd name="connsiteY1" fmla="*/ 386031 h 386030"/>
                <a:gd name="connsiteX2" fmla="*/ 0 w 447227"/>
                <a:gd name="connsiteY2" fmla="*/ 386031 h 386030"/>
              </a:gdLst>
              <a:ahLst/>
              <a:cxnLst>
                <a:cxn ang="0">
                  <a:pos x="connsiteX0" y="connsiteY0"/>
                </a:cxn>
                <a:cxn ang="0">
                  <a:pos x="connsiteX1" y="connsiteY1"/>
                </a:cxn>
                <a:cxn ang="0">
                  <a:pos x="connsiteX2" y="connsiteY2"/>
                </a:cxn>
              </a:cxnLst>
              <a:rect l="l" t="t" r="r" b="b"/>
              <a:pathLst>
                <a:path w="447227" h="386030">
                  <a:moveTo>
                    <a:pt x="223618" y="0"/>
                  </a:moveTo>
                  <a:lnTo>
                    <a:pt x="447227" y="386031"/>
                  </a:lnTo>
                  <a:lnTo>
                    <a:pt x="0" y="386031"/>
                  </a:lnTo>
                  <a:close/>
                </a:path>
              </a:pathLst>
            </a:custGeom>
            <a:solidFill>
              <a:schemeClr val="tx2"/>
            </a:solidFill>
            <a:ln w="804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588BC80-2B36-46F4-8583-16176C3379F7}"/>
                </a:ext>
              </a:extLst>
            </p:cNvPr>
            <p:cNvSpPr/>
            <p:nvPr/>
          </p:nvSpPr>
          <p:spPr>
            <a:xfrm>
              <a:off x="8730248" y="4846082"/>
              <a:ext cx="1337151" cy="998350"/>
            </a:xfrm>
            <a:custGeom>
              <a:avLst/>
              <a:gdLst>
                <a:gd name="connsiteX0" fmla="*/ 0 w 1337151"/>
                <a:gd name="connsiteY0" fmla="*/ 0 h 998350"/>
                <a:gd name="connsiteX1" fmla="*/ 1337152 w 1337151"/>
                <a:gd name="connsiteY1" fmla="*/ 0 h 998350"/>
                <a:gd name="connsiteX2" fmla="*/ 1337152 w 1337151"/>
                <a:gd name="connsiteY2" fmla="*/ 998350 h 998350"/>
                <a:gd name="connsiteX3" fmla="*/ 0 w 1337151"/>
                <a:gd name="connsiteY3" fmla="*/ 998350 h 998350"/>
              </a:gdLst>
              <a:ahLst/>
              <a:cxnLst>
                <a:cxn ang="0">
                  <a:pos x="connsiteX0" y="connsiteY0"/>
                </a:cxn>
                <a:cxn ang="0">
                  <a:pos x="connsiteX1" y="connsiteY1"/>
                </a:cxn>
                <a:cxn ang="0">
                  <a:pos x="connsiteX2" y="connsiteY2"/>
                </a:cxn>
                <a:cxn ang="0">
                  <a:pos x="connsiteX3" y="connsiteY3"/>
                </a:cxn>
              </a:cxnLst>
              <a:rect l="l" t="t" r="r" b="b"/>
              <a:pathLst>
                <a:path w="1337151" h="998350">
                  <a:moveTo>
                    <a:pt x="0" y="0"/>
                  </a:moveTo>
                  <a:lnTo>
                    <a:pt x="1337152" y="0"/>
                  </a:lnTo>
                  <a:lnTo>
                    <a:pt x="1337152" y="998350"/>
                  </a:lnTo>
                  <a:lnTo>
                    <a:pt x="0" y="998350"/>
                  </a:lnTo>
                  <a:close/>
                </a:path>
              </a:pathLst>
            </a:custGeom>
            <a:solidFill>
              <a:schemeClr val="tx2"/>
            </a:solidFill>
            <a:ln w="804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FE2ED06-723E-4085-97AF-63CFA4097EF3}"/>
                </a:ext>
              </a:extLst>
            </p:cNvPr>
            <p:cNvSpPr/>
            <p:nvPr/>
          </p:nvSpPr>
          <p:spPr>
            <a:xfrm>
              <a:off x="9508963" y="5211081"/>
              <a:ext cx="268344" cy="268344"/>
            </a:xfrm>
            <a:custGeom>
              <a:avLst/>
              <a:gdLst>
                <a:gd name="connsiteX0" fmla="*/ 268344 w 268344"/>
                <a:gd name="connsiteY0" fmla="*/ 134172 h 268344"/>
                <a:gd name="connsiteX1" fmla="*/ 134172 w 268344"/>
                <a:gd name="connsiteY1" fmla="*/ 268344 h 268344"/>
                <a:gd name="connsiteX2" fmla="*/ 0 w 268344"/>
                <a:gd name="connsiteY2" fmla="*/ 134172 h 268344"/>
                <a:gd name="connsiteX3" fmla="*/ 134172 w 268344"/>
                <a:gd name="connsiteY3" fmla="*/ 0 h 268344"/>
                <a:gd name="connsiteX4" fmla="*/ 268344 w 268344"/>
                <a:gd name="connsiteY4" fmla="*/ 134172 h 268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44" h="268344">
                  <a:moveTo>
                    <a:pt x="268344" y="134172"/>
                  </a:moveTo>
                  <a:cubicBezTo>
                    <a:pt x="268344" y="208273"/>
                    <a:pt x="208273" y="268344"/>
                    <a:pt x="134172" y="268344"/>
                  </a:cubicBezTo>
                  <a:cubicBezTo>
                    <a:pt x="60071" y="268344"/>
                    <a:pt x="0" y="208273"/>
                    <a:pt x="0" y="134172"/>
                  </a:cubicBezTo>
                  <a:cubicBezTo>
                    <a:pt x="0" y="60071"/>
                    <a:pt x="60071" y="0"/>
                    <a:pt x="134172" y="0"/>
                  </a:cubicBezTo>
                  <a:cubicBezTo>
                    <a:pt x="208273" y="0"/>
                    <a:pt x="268344" y="60071"/>
                    <a:pt x="268344" y="134172"/>
                  </a:cubicBezTo>
                  <a:close/>
                </a:path>
              </a:pathLst>
            </a:custGeom>
            <a:solidFill>
              <a:schemeClr val="accent1"/>
            </a:solidFill>
            <a:ln w="8043"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6B553942-F495-40B9-9482-B2A1AB7C8D5F}"/>
                </a:ext>
              </a:extLst>
            </p:cNvPr>
            <p:cNvSpPr/>
            <p:nvPr/>
          </p:nvSpPr>
          <p:spPr>
            <a:xfrm>
              <a:off x="9915526" y="5211081"/>
              <a:ext cx="268344" cy="268344"/>
            </a:xfrm>
            <a:custGeom>
              <a:avLst/>
              <a:gdLst>
                <a:gd name="connsiteX0" fmla="*/ 268344 w 268344"/>
                <a:gd name="connsiteY0" fmla="*/ 134172 h 268344"/>
                <a:gd name="connsiteX1" fmla="*/ 134172 w 268344"/>
                <a:gd name="connsiteY1" fmla="*/ 268344 h 268344"/>
                <a:gd name="connsiteX2" fmla="*/ 0 w 268344"/>
                <a:gd name="connsiteY2" fmla="*/ 134172 h 268344"/>
                <a:gd name="connsiteX3" fmla="*/ 134172 w 268344"/>
                <a:gd name="connsiteY3" fmla="*/ 0 h 268344"/>
                <a:gd name="connsiteX4" fmla="*/ 268344 w 268344"/>
                <a:gd name="connsiteY4" fmla="*/ 134172 h 268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44" h="268344">
                  <a:moveTo>
                    <a:pt x="268344" y="134172"/>
                  </a:moveTo>
                  <a:cubicBezTo>
                    <a:pt x="268344" y="208273"/>
                    <a:pt x="208273" y="268344"/>
                    <a:pt x="134172" y="268344"/>
                  </a:cubicBezTo>
                  <a:cubicBezTo>
                    <a:pt x="60071" y="268344"/>
                    <a:pt x="0" y="208273"/>
                    <a:pt x="0" y="134172"/>
                  </a:cubicBezTo>
                  <a:cubicBezTo>
                    <a:pt x="0" y="60071"/>
                    <a:pt x="60071" y="0"/>
                    <a:pt x="134172" y="0"/>
                  </a:cubicBezTo>
                  <a:cubicBezTo>
                    <a:pt x="208273" y="0"/>
                    <a:pt x="268344" y="60071"/>
                    <a:pt x="268344" y="134172"/>
                  </a:cubicBezTo>
                  <a:close/>
                </a:path>
              </a:pathLst>
            </a:custGeom>
            <a:solidFill>
              <a:schemeClr val="accent1"/>
            </a:solidFill>
            <a:ln w="8043"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CE56C9B-D98F-4C6A-8914-230A752FB809}"/>
                </a:ext>
              </a:extLst>
            </p:cNvPr>
            <p:cNvSpPr/>
            <p:nvPr/>
          </p:nvSpPr>
          <p:spPr>
            <a:xfrm>
              <a:off x="10367267" y="5211081"/>
              <a:ext cx="268344" cy="268344"/>
            </a:xfrm>
            <a:custGeom>
              <a:avLst/>
              <a:gdLst>
                <a:gd name="connsiteX0" fmla="*/ 268344 w 268344"/>
                <a:gd name="connsiteY0" fmla="*/ 134172 h 268344"/>
                <a:gd name="connsiteX1" fmla="*/ 134172 w 268344"/>
                <a:gd name="connsiteY1" fmla="*/ 268344 h 268344"/>
                <a:gd name="connsiteX2" fmla="*/ 0 w 268344"/>
                <a:gd name="connsiteY2" fmla="*/ 134172 h 268344"/>
                <a:gd name="connsiteX3" fmla="*/ 134172 w 268344"/>
                <a:gd name="connsiteY3" fmla="*/ 0 h 268344"/>
                <a:gd name="connsiteX4" fmla="*/ 268344 w 268344"/>
                <a:gd name="connsiteY4" fmla="*/ 134172 h 268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44" h="268344">
                  <a:moveTo>
                    <a:pt x="268344" y="134172"/>
                  </a:moveTo>
                  <a:cubicBezTo>
                    <a:pt x="268344" y="208273"/>
                    <a:pt x="208273" y="268344"/>
                    <a:pt x="134172" y="268344"/>
                  </a:cubicBezTo>
                  <a:cubicBezTo>
                    <a:pt x="60071" y="268344"/>
                    <a:pt x="0" y="208273"/>
                    <a:pt x="0" y="134172"/>
                  </a:cubicBezTo>
                  <a:cubicBezTo>
                    <a:pt x="0" y="60071"/>
                    <a:pt x="60071" y="0"/>
                    <a:pt x="134172" y="0"/>
                  </a:cubicBezTo>
                  <a:cubicBezTo>
                    <a:pt x="208273" y="0"/>
                    <a:pt x="268344" y="60071"/>
                    <a:pt x="268344" y="134172"/>
                  </a:cubicBezTo>
                  <a:close/>
                </a:path>
              </a:pathLst>
            </a:custGeom>
            <a:solidFill>
              <a:schemeClr val="accent1"/>
            </a:solidFill>
            <a:ln w="8043"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9BF9855-E9D6-4881-B7AB-23E8BB560929}"/>
                </a:ext>
              </a:extLst>
            </p:cNvPr>
            <p:cNvSpPr/>
            <p:nvPr userDrawn="1"/>
          </p:nvSpPr>
          <p:spPr>
            <a:xfrm>
              <a:off x="10810182" y="4495606"/>
              <a:ext cx="892370" cy="1493120"/>
            </a:xfrm>
            <a:custGeom>
              <a:avLst/>
              <a:gdLst>
                <a:gd name="connsiteX0" fmla="*/ 892371 w 892370"/>
                <a:gd name="connsiteY0" fmla="*/ 1493120 h 1493120"/>
                <a:gd name="connsiteX1" fmla="*/ 0 w 892370"/>
                <a:gd name="connsiteY1" fmla="*/ 1493120 h 1493120"/>
                <a:gd name="connsiteX2" fmla="*/ 0 w 892370"/>
                <a:gd name="connsiteY2" fmla="*/ 0 h 1493120"/>
                <a:gd name="connsiteX3" fmla="*/ 892371 w 892370"/>
                <a:gd name="connsiteY3" fmla="*/ 0 h 1493120"/>
                <a:gd name="connsiteX4" fmla="*/ 40229 w 892370"/>
                <a:gd name="connsiteY4" fmla="*/ 1452891 h 1493120"/>
                <a:gd name="connsiteX5" fmla="*/ 852142 w 892370"/>
                <a:gd name="connsiteY5" fmla="*/ 1452891 h 1493120"/>
                <a:gd name="connsiteX6" fmla="*/ 852142 w 892370"/>
                <a:gd name="connsiteY6" fmla="*/ 40229 h 1493120"/>
                <a:gd name="connsiteX7" fmla="*/ 40229 w 892370"/>
                <a:gd name="connsiteY7" fmla="*/ 40229 h 14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2370" h="1493120">
                  <a:moveTo>
                    <a:pt x="892371" y="1493120"/>
                  </a:moveTo>
                  <a:lnTo>
                    <a:pt x="0" y="1493120"/>
                  </a:lnTo>
                  <a:lnTo>
                    <a:pt x="0" y="0"/>
                  </a:lnTo>
                  <a:lnTo>
                    <a:pt x="892371" y="0"/>
                  </a:lnTo>
                  <a:close/>
                  <a:moveTo>
                    <a:pt x="40229" y="1452891"/>
                  </a:moveTo>
                  <a:lnTo>
                    <a:pt x="852142" y="1452891"/>
                  </a:lnTo>
                  <a:lnTo>
                    <a:pt x="852142" y="40229"/>
                  </a:lnTo>
                  <a:lnTo>
                    <a:pt x="40229" y="40229"/>
                  </a:lnTo>
                  <a:close/>
                </a:path>
              </a:pathLst>
            </a:custGeom>
            <a:solidFill>
              <a:schemeClr val="accent4"/>
            </a:solidFill>
            <a:ln w="8043" cap="flat">
              <a:noFill/>
              <a:prstDash val="solid"/>
              <a:miter/>
            </a:ln>
          </p:spPr>
          <p:txBody>
            <a:bodyPr rtlCol="0" anchor="ctr"/>
            <a:lstStyle/>
            <a:p>
              <a:endParaRPr lang="en-US"/>
            </a:p>
          </p:txBody>
        </p:sp>
      </p:grpSp>
    </p:spTree>
    <p:extLst>
      <p:ext uri="{BB962C8B-B14F-4D97-AF65-F5344CB8AC3E}">
        <p14:creationId xmlns:p14="http://schemas.microsoft.com/office/powerpoint/2010/main" val="1137803378"/>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340349"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1810712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apittel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grpSp>
        <p:nvGrpSpPr>
          <p:cNvPr id="3" name="Group 2">
            <a:extLst>
              <a:ext uri="{FF2B5EF4-FFF2-40B4-BE49-F238E27FC236}">
                <a16:creationId xmlns:a16="http://schemas.microsoft.com/office/drawing/2014/main" id="{7391F02B-B53B-4219-A213-FA244B1B9DF2}"/>
              </a:ext>
            </a:extLst>
          </p:cNvPr>
          <p:cNvGrpSpPr/>
          <p:nvPr userDrawn="1"/>
        </p:nvGrpSpPr>
        <p:grpSpPr>
          <a:xfrm>
            <a:off x="-193141" y="4703130"/>
            <a:ext cx="3851014" cy="2239479"/>
            <a:chOff x="-193141" y="4703130"/>
            <a:chExt cx="3851014" cy="2239479"/>
          </a:xfrm>
        </p:grpSpPr>
        <p:sp>
          <p:nvSpPr>
            <p:cNvPr id="8" name="Freeform: Shape 7">
              <a:extLst>
                <a:ext uri="{FF2B5EF4-FFF2-40B4-BE49-F238E27FC236}">
                  <a16:creationId xmlns:a16="http://schemas.microsoft.com/office/drawing/2014/main" id="{6EDA9B97-14EE-4EFC-82F6-A0C048F043E8}"/>
                </a:ext>
              </a:extLst>
            </p:cNvPr>
            <p:cNvSpPr/>
            <p:nvPr/>
          </p:nvSpPr>
          <p:spPr>
            <a:xfrm>
              <a:off x="1076598" y="4703130"/>
              <a:ext cx="2581275" cy="2235450"/>
            </a:xfrm>
            <a:custGeom>
              <a:avLst/>
              <a:gdLst>
                <a:gd name="connsiteX0" fmla="*/ 2581275 w 2581275"/>
                <a:gd name="connsiteY0" fmla="*/ 2235451 h 2235450"/>
                <a:gd name="connsiteX1" fmla="*/ 0 w 2581275"/>
                <a:gd name="connsiteY1" fmla="*/ 2235451 h 2235450"/>
                <a:gd name="connsiteX2" fmla="*/ 1290638 w 2581275"/>
                <a:gd name="connsiteY2" fmla="*/ 0 h 2235450"/>
                <a:gd name="connsiteX3" fmla="*/ 16507 w 2581275"/>
                <a:gd name="connsiteY3" fmla="*/ 2225926 h 2235450"/>
                <a:gd name="connsiteX4" fmla="*/ 2564778 w 2581275"/>
                <a:gd name="connsiteY4" fmla="*/ 2225926 h 2235450"/>
                <a:gd name="connsiteX5" fmla="*/ 1290638 w 2581275"/>
                <a:gd name="connsiteY5" fmla="*/ 19050 h 22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1275" h="2235450">
                  <a:moveTo>
                    <a:pt x="2581275" y="2235451"/>
                  </a:moveTo>
                  <a:lnTo>
                    <a:pt x="0" y="2235451"/>
                  </a:lnTo>
                  <a:lnTo>
                    <a:pt x="1290638" y="0"/>
                  </a:lnTo>
                  <a:close/>
                  <a:moveTo>
                    <a:pt x="16507" y="2225926"/>
                  </a:moveTo>
                  <a:lnTo>
                    <a:pt x="2564778" y="2225926"/>
                  </a:lnTo>
                  <a:lnTo>
                    <a:pt x="1290638" y="19050"/>
                  </a:lnTo>
                  <a:close/>
                </a:path>
              </a:pathLst>
            </a:custGeom>
            <a:solidFill>
              <a:schemeClr val="bg1"/>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5FF77E99-435F-4373-904A-0B8840F0B5F4}"/>
                </a:ext>
              </a:extLst>
            </p:cNvPr>
            <p:cNvSpPr/>
            <p:nvPr/>
          </p:nvSpPr>
          <p:spPr>
            <a:xfrm>
              <a:off x="1577870" y="5551293"/>
              <a:ext cx="1378371" cy="1391136"/>
            </a:xfrm>
            <a:custGeom>
              <a:avLst/>
              <a:gdLst>
                <a:gd name="connsiteX0" fmla="*/ 0 w 1378371"/>
                <a:gd name="connsiteY0" fmla="*/ 0 h 1391136"/>
                <a:gd name="connsiteX1" fmla="*/ 521513 w 1378371"/>
                <a:gd name="connsiteY1" fmla="*/ 411318 h 1391136"/>
                <a:gd name="connsiteX2" fmla="*/ 1233230 w 1378371"/>
                <a:gd name="connsiteY2" fmla="*/ 1236583 h 1391136"/>
                <a:gd name="connsiteX3" fmla="*/ 1378372 w 1378371"/>
                <a:gd name="connsiteY3" fmla="*/ 1391136 h 1391136"/>
                <a:gd name="connsiteX4" fmla="*/ 0 w 1378371"/>
                <a:gd name="connsiteY4" fmla="*/ 1391136 h 1391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8371" h="1391136">
                  <a:moveTo>
                    <a:pt x="0" y="0"/>
                  </a:moveTo>
                  <a:cubicBezTo>
                    <a:pt x="267995" y="21079"/>
                    <a:pt x="395078" y="121520"/>
                    <a:pt x="521513" y="411318"/>
                  </a:cubicBezTo>
                  <a:cubicBezTo>
                    <a:pt x="678380" y="766972"/>
                    <a:pt x="884501" y="1006126"/>
                    <a:pt x="1233230" y="1236583"/>
                  </a:cubicBezTo>
                  <a:cubicBezTo>
                    <a:pt x="1292984" y="1276098"/>
                    <a:pt x="1342684" y="1329021"/>
                    <a:pt x="1378372" y="1391136"/>
                  </a:cubicBezTo>
                  <a:lnTo>
                    <a:pt x="0" y="1391136"/>
                  </a:lnTo>
                  <a:close/>
                </a:path>
              </a:pathLst>
            </a:custGeom>
            <a:solidFill>
              <a:schemeClr val="accent2"/>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4B90A55-43F2-44C4-8FA8-6B258D4852E8}"/>
                </a:ext>
              </a:extLst>
            </p:cNvPr>
            <p:cNvSpPr/>
            <p:nvPr/>
          </p:nvSpPr>
          <p:spPr>
            <a:xfrm>
              <a:off x="-193141" y="4721446"/>
              <a:ext cx="2564777" cy="2221163"/>
            </a:xfrm>
            <a:custGeom>
              <a:avLst/>
              <a:gdLst>
                <a:gd name="connsiteX0" fmla="*/ 1282389 w 2564777"/>
                <a:gd name="connsiteY0" fmla="*/ 2221163 h 2221163"/>
                <a:gd name="connsiteX1" fmla="*/ 0 w 2564777"/>
                <a:gd name="connsiteY1" fmla="*/ 2221163 h 2221163"/>
                <a:gd name="connsiteX2" fmla="*/ 641194 w 2564777"/>
                <a:gd name="connsiteY2" fmla="*/ 1110577 h 2221163"/>
                <a:gd name="connsiteX3" fmla="*/ 1282389 w 2564777"/>
                <a:gd name="connsiteY3" fmla="*/ 0 h 2221163"/>
                <a:gd name="connsiteX4" fmla="*/ 1923583 w 2564777"/>
                <a:gd name="connsiteY4" fmla="*/ 1110577 h 2221163"/>
                <a:gd name="connsiteX5" fmla="*/ 2564778 w 2564777"/>
                <a:gd name="connsiteY5" fmla="*/ 2221163 h 2221163"/>
                <a:gd name="connsiteX6" fmla="*/ 1282389 w 2564777"/>
                <a:gd name="connsiteY6" fmla="*/ 2221163 h 222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4777" h="2221163">
                  <a:moveTo>
                    <a:pt x="1282389" y="2221163"/>
                  </a:moveTo>
                  <a:lnTo>
                    <a:pt x="0" y="2221163"/>
                  </a:lnTo>
                  <a:lnTo>
                    <a:pt x="641194" y="1110577"/>
                  </a:lnTo>
                  <a:lnTo>
                    <a:pt x="1282389" y="0"/>
                  </a:lnTo>
                  <a:lnTo>
                    <a:pt x="1923583" y="1110577"/>
                  </a:lnTo>
                  <a:lnTo>
                    <a:pt x="2564778" y="2221163"/>
                  </a:lnTo>
                  <a:lnTo>
                    <a:pt x="1282389" y="2221163"/>
                  </a:lnTo>
                  <a:close/>
                </a:path>
              </a:pathLst>
            </a:custGeom>
            <a:solidFill>
              <a:schemeClr val="accent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551773970"/>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Kapittel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grpSp>
        <p:nvGrpSpPr>
          <p:cNvPr id="3" name="Group 2">
            <a:extLst>
              <a:ext uri="{FF2B5EF4-FFF2-40B4-BE49-F238E27FC236}">
                <a16:creationId xmlns:a16="http://schemas.microsoft.com/office/drawing/2014/main" id="{D3678B2A-2F48-4D27-93CA-F25ECA71B716}"/>
              </a:ext>
            </a:extLst>
          </p:cNvPr>
          <p:cNvGrpSpPr/>
          <p:nvPr userDrawn="1"/>
        </p:nvGrpSpPr>
        <p:grpSpPr>
          <a:xfrm>
            <a:off x="553506" y="4275628"/>
            <a:ext cx="3020870" cy="2292828"/>
            <a:chOff x="553506" y="4275628"/>
            <a:chExt cx="3020870" cy="2292828"/>
          </a:xfrm>
        </p:grpSpPr>
        <p:sp>
          <p:nvSpPr>
            <p:cNvPr id="7" name="Freeform: Shape 6">
              <a:extLst>
                <a:ext uri="{FF2B5EF4-FFF2-40B4-BE49-F238E27FC236}">
                  <a16:creationId xmlns:a16="http://schemas.microsoft.com/office/drawing/2014/main" id="{35CD9FC8-2928-4A44-8CD6-48ACDB02C858}"/>
                </a:ext>
              </a:extLst>
            </p:cNvPr>
            <p:cNvSpPr/>
            <p:nvPr userDrawn="1"/>
          </p:nvSpPr>
          <p:spPr>
            <a:xfrm>
              <a:off x="2731107" y="5842664"/>
              <a:ext cx="843269" cy="725792"/>
            </a:xfrm>
            <a:custGeom>
              <a:avLst/>
              <a:gdLst>
                <a:gd name="connsiteX0" fmla="*/ 421635 w 843269"/>
                <a:gd name="connsiteY0" fmla="*/ 0 h 725792"/>
                <a:gd name="connsiteX1" fmla="*/ 843270 w 843269"/>
                <a:gd name="connsiteY1" fmla="*/ 725793 h 725792"/>
                <a:gd name="connsiteX2" fmla="*/ 0 w 843269"/>
                <a:gd name="connsiteY2" fmla="*/ 725793 h 725792"/>
              </a:gdLst>
              <a:ahLst/>
              <a:cxnLst>
                <a:cxn ang="0">
                  <a:pos x="connsiteX0" y="connsiteY0"/>
                </a:cxn>
                <a:cxn ang="0">
                  <a:pos x="connsiteX1" y="connsiteY1"/>
                </a:cxn>
                <a:cxn ang="0">
                  <a:pos x="connsiteX2" y="connsiteY2"/>
                </a:cxn>
              </a:cxnLst>
              <a:rect l="l" t="t" r="r" b="b"/>
              <a:pathLst>
                <a:path w="843269" h="725792">
                  <a:moveTo>
                    <a:pt x="421635" y="0"/>
                  </a:moveTo>
                  <a:lnTo>
                    <a:pt x="843270" y="725793"/>
                  </a:lnTo>
                  <a:lnTo>
                    <a:pt x="0" y="725793"/>
                  </a:lnTo>
                  <a:close/>
                </a:path>
              </a:pathLst>
            </a:custGeom>
            <a:solidFill>
              <a:schemeClr val="accent1"/>
            </a:solidFill>
            <a:ln w="794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66A6FA39-8755-4AD9-9AC7-36CB646BBCDB}"/>
                </a:ext>
              </a:extLst>
            </p:cNvPr>
            <p:cNvSpPr/>
            <p:nvPr userDrawn="1"/>
          </p:nvSpPr>
          <p:spPr>
            <a:xfrm>
              <a:off x="2144286" y="5842664"/>
              <a:ext cx="843269" cy="725792"/>
            </a:xfrm>
            <a:custGeom>
              <a:avLst/>
              <a:gdLst>
                <a:gd name="connsiteX0" fmla="*/ 421635 w 843269"/>
                <a:gd name="connsiteY0" fmla="*/ 0 h 725792"/>
                <a:gd name="connsiteX1" fmla="*/ 843270 w 843269"/>
                <a:gd name="connsiteY1" fmla="*/ 725793 h 725792"/>
                <a:gd name="connsiteX2" fmla="*/ 0 w 843269"/>
                <a:gd name="connsiteY2" fmla="*/ 725793 h 725792"/>
              </a:gdLst>
              <a:ahLst/>
              <a:cxnLst>
                <a:cxn ang="0">
                  <a:pos x="connsiteX0" y="connsiteY0"/>
                </a:cxn>
                <a:cxn ang="0">
                  <a:pos x="connsiteX1" y="connsiteY1"/>
                </a:cxn>
                <a:cxn ang="0">
                  <a:pos x="connsiteX2" y="connsiteY2"/>
                </a:cxn>
              </a:cxnLst>
              <a:rect l="l" t="t" r="r" b="b"/>
              <a:pathLst>
                <a:path w="843269" h="725792">
                  <a:moveTo>
                    <a:pt x="421635" y="0"/>
                  </a:moveTo>
                  <a:lnTo>
                    <a:pt x="843270" y="725793"/>
                  </a:lnTo>
                  <a:lnTo>
                    <a:pt x="0" y="725793"/>
                  </a:lnTo>
                  <a:close/>
                </a:path>
              </a:pathLst>
            </a:custGeom>
            <a:solidFill>
              <a:schemeClr val="accent1"/>
            </a:solidFill>
            <a:ln w="794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2EE18E7-8CC1-45D9-9E6D-94675A6D04AC}"/>
                </a:ext>
              </a:extLst>
            </p:cNvPr>
            <p:cNvSpPr/>
            <p:nvPr userDrawn="1"/>
          </p:nvSpPr>
          <p:spPr>
            <a:xfrm>
              <a:off x="553506" y="4275628"/>
              <a:ext cx="1596046" cy="1750762"/>
            </a:xfrm>
            <a:custGeom>
              <a:avLst/>
              <a:gdLst>
                <a:gd name="connsiteX0" fmla="*/ 9858 w 1596046"/>
                <a:gd name="connsiteY0" fmla="*/ 1733398 h 1750762"/>
                <a:gd name="connsiteX1" fmla="*/ 1596046 w 1596046"/>
                <a:gd name="connsiteY1" fmla="*/ 1750763 h 1750762"/>
                <a:gd name="connsiteX2" fmla="*/ 1391405 w 1596046"/>
                <a:gd name="connsiteY2" fmla="*/ 1424617 h 1750762"/>
                <a:gd name="connsiteX3" fmla="*/ 0 w 1596046"/>
                <a:gd name="connsiteY3" fmla="*/ 0 h 1750762"/>
              </a:gdLst>
              <a:ahLst/>
              <a:cxnLst>
                <a:cxn ang="0">
                  <a:pos x="connsiteX0" y="connsiteY0"/>
                </a:cxn>
                <a:cxn ang="0">
                  <a:pos x="connsiteX1" y="connsiteY1"/>
                </a:cxn>
                <a:cxn ang="0">
                  <a:pos x="connsiteX2" y="connsiteY2"/>
                </a:cxn>
                <a:cxn ang="0">
                  <a:pos x="connsiteX3" y="connsiteY3"/>
                </a:cxn>
              </a:cxnLst>
              <a:rect l="l" t="t" r="r" b="b"/>
              <a:pathLst>
                <a:path w="1596046" h="1750762">
                  <a:moveTo>
                    <a:pt x="9858" y="1733398"/>
                  </a:moveTo>
                  <a:lnTo>
                    <a:pt x="1596046" y="1750763"/>
                  </a:lnTo>
                  <a:cubicBezTo>
                    <a:pt x="1583472" y="1623166"/>
                    <a:pt x="1519749" y="1509891"/>
                    <a:pt x="1391405" y="1424617"/>
                  </a:cubicBezTo>
                  <a:cubicBezTo>
                    <a:pt x="303983" y="701128"/>
                    <a:pt x="822156" y="30813"/>
                    <a:pt x="0" y="0"/>
                  </a:cubicBezTo>
                  <a:close/>
                </a:path>
              </a:pathLst>
            </a:custGeom>
            <a:solidFill>
              <a:srgbClr val="1D43C6"/>
            </a:solidFill>
            <a:ln w="794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C3C6A5D-2EAC-4E0C-851F-F5AFA7FFE4B4}"/>
                </a:ext>
              </a:extLst>
            </p:cNvPr>
            <p:cNvSpPr/>
            <p:nvPr userDrawn="1"/>
          </p:nvSpPr>
          <p:spPr>
            <a:xfrm>
              <a:off x="2261358" y="5121669"/>
              <a:ext cx="1142748" cy="569248"/>
            </a:xfrm>
            <a:custGeom>
              <a:avLst/>
              <a:gdLst>
                <a:gd name="connsiteX0" fmla="*/ 8 w 1142748"/>
                <a:gd name="connsiteY0" fmla="*/ 0 h 569248"/>
                <a:gd name="connsiteX1" fmla="*/ 1142749 w 1142748"/>
                <a:gd name="connsiteY1" fmla="*/ 0 h 569248"/>
                <a:gd name="connsiteX2" fmla="*/ 569244 w 1142748"/>
                <a:gd name="connsiteY2" fmla="*/ 569244 h 569248"/>
                <a:gd name="connsiteX3" fmla="*/ 0 w 1142748"/>
                <a:gd name="connsiteY3" fmla="*/ 0 h 569248"/>
              </a:gdLst>
              <a:ahLst/>
              <a:cxnLst>
                <a:cxn ang="0">
                  <a:pos x="connsiteX0" y="connsiteY0"/>
                </a:cxn>
                <a:cxn ang="0">
                  <a:pos x="connsiteX1" y="connsiteY1"/>
                </a:cxn>
                <a:cxn ang="0">
                  <a:pos x="connsiteX2" y="connsiteY2"/>
                </a:cxn>
                <a:cxn ang="0">
                  <a:pos x="connsiteX3" y="connsiteY3"/>
                </a:cxn>
              </a:cxnLst>
              <a:rect l="l" t="t" r="r" b="b"/>
              <a:pathLst>
                <a:path w="1142748" h="569248">
                  <a:moveTo>
                    <a:pt x="8" y="0"/>
                  </a:moveTo>
                  <a:lnTo>
                    <a:pt x="1142749" y="0"/>
                  </a:lnTo>
                  <a:cubicBezTo>
                    <a:pt x="1141572" y="315561"/>
                    <a:pt x="884806" y="570420"/>
                    <a:pt x="569244" y="569244"/>
                  </a:cubicBezTo>
                  <a:cubicBezTo>
                    <a:pt x="255345" y="568074"/>
                    <a:pt x="1170" y="313899"/>
                    <a:pt x="0" y="0"/>
                  </a:cubicBezTo>
                  <a:close/>
                </a:path>
              </a:pathLst>
            </a:custGeom>
            <a:solidFill>
              <a:schemeClr val="accent3"/>
            </a:solidFill>
            <a:ln w="794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1C04C87B-AF0D-4CA8-9EF0-3E415581B6D5}"/>
                </a:ext>
              </a:extLst>
            </p:cNvPr>
            <p:cNvSpPr/>
            <p:nvPr userDrawn="1"/>
          </p:nvSpPr>
          <p:spPr>
            <a:xfrm>
              <a:off x="2258379" y="5118722"/>
              <a:ext cx="1148706" cy="577296"/>
            </a:xfrm>
            <a:custGeom>
              <a:avLst/>
              <a:gdLst>
                <a:gd name="connsiteX0" fmla="*/ 574365 w 1148706"/>
                <a:gd name="connsiteY0" fmla="*/ 577296 h 577296"/>
                <a:gd name="connsiteX1" fmla="*/ 0 w 1148706"/>
                <a:gd name="connsiteY1" fmla="*/ 2979 h 577296"/>
                <a:gd name="connsiteX2" fmla="*/ 2947 w 1148706"/>
                <a:gd name="connsiteY2" fmla="*/ 2979 h 577296"/>
                <a:gd name="connsiteX3" fmla="*/ 2947 w 1148706"/>
                <a:gd name="connsiteY3" fmla="*/ 0 h 577296"/>
                <a:gd name="connsiteX4" fmla="*/ 1148706 w 1148706"/>
                <a:gd name="connsiteY4" fmla="*/ 0 h 577296"/>
                <a:gd name="connsiteX5" fmla="*/ 1148706 w 1148706"/>
                <a:gd name="connsiteY5" fmla="*/ 2979 h 577296"/>
                <a:gd name="connsiteX6" fmla="*/ 574365 w 1148706"/>
                <a:gd name="connsiteY6" fmla="*/ 577296 h 577296"/>
                <a:gd name="connsiteX7" fmla="*/ 5965 w 1148706"/>
                <a:gd name="connsiteY7" fmla="*/ 5966 h 577296"/>
                <a:gd name="connsiteX8" fmla="*/ 576478 w 1148706"/>
                <a:gd name="connsiteY8" fmla="*/ 572228 h 577296"/>
                <a:gd name="connsiteX9" fmla="*/ 1142741 w 1148706"/>
                <a:gd name="connsiteY9" fmla="*/ 5966 h 57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8706" h="577296">
                  <a:moveTo>
                    <a:pt x="574365" y="577296"/>
                  </a:moveTo>
                  <a:cubicBezTo>
                    <a:pt x="257318" y="576942"/>
                    <a:pt x="381" y="320026"/>
                    <a:pt x="0" y="2979"/>
                  </a:cubicBezTo>
                  <a:lnTo>
                    <a:pt x="2947" y="2979"/>
                  </a:lnTo>
                  <a:lnTo>
                    <a:pt x="2947" y="0"/>
                  </a:lnTo>
                  <a:lnTo>
                    <a:pt x="1148706" y="0"/>
                  </a:lnTo>
                  <a:lnTo>
                    <a:pt x="1148706" y="2979"/>
                  </a:lnTo>
                  <a:cubicBezTo>
                    <a:pt x="1148330" y="320019"/>
                    <a:pt x="891405" y="576933"/>
                    <a:pt x="574365" y="577296"/>
                  </a:cubicBezTo>
                  <a:close/>
                  <a:moveTo>
                    <a:pt x="5965" y="5966"/>
                  </a:moveTo>
                  <a:cubicBezTo>
                    <a:pt x="7139" y="319878"/>
                    <a:pt x="262566" y="573402"/>
                    <a:pt x="576478" y="572228"/>
                  </a:cubicBezTo>
                  <a:cubicBezTo>
                    <a:pt x="888732" y="571061"/>
                    <a:pt x="1141573" y="318219"/>
                    <a:pt x="1142741" y="5966"/>
                  </a:cubicBezTo>
                  <a:close/>
                </a:path>
              </a:pathLst>
            </a:custGeom>
            <a:solidFill>
              <a:srgbClr val="FBAC66"/>
            </a:solidFill>
            <a:ln w="794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F905877-2A9A-461C-9C7A-17DBCB0BB485}"/>
                </a:ext>
              </a:extLst>
            </p:cNvPr>
            <p:cNvSpPr/>
            <p:nvPr userDrawn="1"/>
          </p:nvSpPr>
          <p:spPr>
            <a:xfrm>
              <a:off x="553506" y="4275628"/>
              <a:ext cx="1596046" cy="1750762"/>
            </a:xfrm>
            <a:custGeom>
              <a:avLst/>
              <a:gdLst>
                <a:gd name="connsiteX0" fmla="*/ 9858 w 1596046"/>
                <a:gd name="connsiteY0" fmla="*/ 1733390 h 1750762"/>
                <a:gd name="connsiteX1" fmla="*/ 1596046 w 1596046"/>
                <a:gd name="connsiteY1" fmla="*/ 1750763 h 1750762"/>
                <a:gd name="connsiteX2" fmla="*/ 1391405 w 1596046"/>
                <a:gd name="connsiteY2" fmla="*/ 1424617 h 1750762"/>
                <a:gd name="connsiteX3" fmla="*/ 0 w 1596046"/>
                <a:gd name="connsiteY3" fmla="*/ 0 h 1750762"/>
              </a:gdLst>
              <a:ahLst/>
              <a:cxnLst>
                <a:cxn ang="0">
                  <a:pos x="connsiteX0" y="connsiteY0"/>
                </a:cxn>
                <a:cxn ang="0">
                  <a:pos x="connsiteX1" y="connsiteY1"/>
                </a:cxn>
                <a:cxn ang="0">
                  <a:pos x="connsiteX2" y="connsiteY2"/>
                </a:cxn>
                <a:cxn ang="0">
                  <a:pos x="connsiteX3" y="connsiteY3"/>
                </a:cxn>
              </a:cxnLst>
              <a:rect l="l" t="t" r="r" b="b"/>
              <a:pathLst>
                <a:path w="1596046" h="1750762">
                  <a:moveTo>
                    <a:pt x="9858" y="1733390"/>
                  </a:moveTo>
                  <a:lnTo>
                    <a:pt x="1596046" y="1750763"/>
                  </a:lnTo>
                  <a:cubicBezTo>
                    <a:pt x="1583472" y="1623166"/>
                    <a:pt x="1519749" y="1509883"/>
                    <a:pt x="1391405" y="1424617"/>
                  </a:cubicBezTo>
                  <a:cubicBezTo>
                    <a:pt x="303983" y="701120"/>
                    <a:pt x="822156" y="30813"/>
                    <a:pt x="0" y="0"/>
                  </a:cubicBezTo>
                  <a:close/>
                </a:path>
              </a:pathLst>
            </a:custGeom>
            <a:solidFill>
              <a:schemeClr val="accent2"/>
            </a:solidFill>
            <a:ln w="7941" cap="flat">
              <a:noFill/>
              <a:prstDash val="solid"/>
              <a:miter/>
            </a:ln>
          </p:spPr>
          <p:txBody>
            <a:bodyPr rtlCol="0" anchor="ctr"/>
            <a:lstStyle/>
            <a:p>
              <a:endParaRPr lang="en-US"/>
            </a:p>
          </p:txBody>
        </p:sp>
      </p:grpSp>
    </p:spTree>
    <p:extLst>
      <p:ext uri="{BB962C8B-B14F-4D97-AF65-F5344CB8AC3E}">
        <p14:creationId xmlns:p14="http://schemas.microsoft.com/office/powerpoint/2010/main" val="3872543806"/>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Kapittel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grpSp>
        <p:nvGrpSpPr>
          <p:cNvPr id="3" name="Group 2">
            <a:extLst>
              <a:ext uri="{FF2B5EF4-FFF2-40B4-BE49-F238E27FC236}">
                <a16:creationId xmlns:a16="http://schemas.microsoft.com/office/drawing/2014/main" id="{ED83404B-9696-4894-8EBB-5A5ADB66B4C6}"/>
              </a:ext>
            </a:extLst>
          </p:cNvPr>
          <p:cNvGrpSpPr/>
          <p:nvPr userDrawn="1"/>
        </p:nvGrpSpPr>
        <p:grpSpPr>
          <a:xfrm>
            <a:off x="1002014" y="668472"/>
            <a:ext cx="2173294" cy="2346804"/>
            <a:chOff x="1002014" y="668472"/>
            <a:chExt cx="2173294" cy="2346804"/>
          </a:xfrm>
        </p:grpSpPr>
        <p:sp>
          <p:nvSpPr>
            <p:cNvPr id="10" name="Freeform: Shape 9">
              <a:extLst>
                <a:ext uri="{FF2B5EF4-FFF2-40B4-BE49-F238E27FC236}">
                  <a16:creationId xmlns:a16="http://schemas.microsoft.com/office/drawing/2014/main" id="{35853E15-4F9F-40AD-AC61-5A3023E3CE69}"/>
                </a:ext>
              </a:extLst>
            </p:cNvPr>
            <p:cNvSpPr/>
            <p:nvPr userDrawn="1"/>
          </p:nvSpPr>
          <p:spPr>
            <a:xfrm>
              <a:off x="1769489" y="953964"/>
              <a:ext cx="393799" cy="393799"/>
            </a:xfrm>
            <a:custGeom>
              <a:avLst/>
              <a:gdLst>
                <a:gd name="connsiteX0" fmla="*/ 393799 w 393799"/>
                <a:gd name="connsiteY0" fmla="*/ 196900 h 393799"/>
                <a:gd name="connsiteX1" fmla="*/ 196900 w 393799"/>
                <a:gd name="connsiteY1" fmla="*/ 393799 h 393799"/>
                <a:gd name="connsiteX2" fmla="*/ 0 w 393799"/>
                <a:gd name="connsiteY2" fmla="*/ 196900 h 393799"/>
                <a:gd name="connsiteX3" fmla="*/ 196900 w 393799"/>
                <a:gd name="connsiteY3" fmla="*/ 0 h 393799"/>
                <a:gd name="connsiteX4" fmla="*/ 393799 w 393799"/>
                <a:gd name="connsiteY4" fmla="*/ 196900 h 393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99" h="393799">
                  <a:moveTo>
                    <a:pt x="393799" y="196900"/>
                  </a:moveTo>
                  <a:cubicBezTo>
                    <a:pt x="393799" y="305644"/>
                    <a:pt x="305644" y="393799"/>
                    <a:pt x="196900" y="393799"/>
                  </a:cubicBezTo>
                  <a:cubicBezTo>
                    <a:pt x="88155" y="393799"/>
                    <a:pt x="0" y="305644"/>
                    <a:pt x="0" y="196900"/>
                  </a:cubicBezTo>
                  <a:cubicBezTo>
                    <a:pt x="0" y="88155"/>
                    <a:pt x="88155" y="0"/>
                    <a:pt x="196900" y="0"/>
                  </a:cubicBezTo>
                  <a:cubicBezTo>
                    <a:pt x="305644" y="0"/>
                    <a:pt x="393799" y="88155"/>
                    <a:pt x="393799" y="196900"/>
                  </a:cubicBezTo>
                  <a:close/>
                </a:path>
              </a:pathLst>
            </a:custGeom>
            <a:solidFill>
              <a:schemeClr val="accent1"/>
            </a:solidFill>
            <a:ln w="6493"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ACC864-1604-4E31-BB73-59849F948F41}"/>
                </a:ext>
              </a:extLst>
            </p:cNvPr>
            <p:cNvSpPr/>
            <p:nvPr userDrawn="1"/>
          </p:nvSpPr>
          <p:spPr>
            <a:xfrm>
              <a:off x="2781509" y="1734600"/>
              <a:ext cx="393799" cy="393799"/>
            </a:xfrm>
            <a:custGeom>
              <a:avLst/>
              <a:gdLst>
                <a:gd name="connsiteX0" fmla="*/ 393800 w 393799"/>
                <a:gd name="connsiteY0" fmla="*/ 196900 h 393799"/>
                <a:gd name="connsiteX1" fmla="*/ 196900 w 393799"/>
                <a:gd name="connsiteY1" fmla="*/ 393799 h 393799"/>
                <a:gd name="connsiteX2" fmla="*/ 0 w 393799"/>
                <a:gd name="connsiteY2" fmla="*/ 196900 h 393799"/>
                <a:gd name="connsiteX3" fmla="*/ 196900 w 393799"/>
                <a:gd name="connsiteY3" fmla="*/ 0 h 393799"/>
                <a:gd name="connsiteX4" fmla="*/ 393800 w 393799"/>
                <a:gd name="connsiteY4" fmla="*/ 196900 h 393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99" h="393799">
                  <a:moveTo>
                    <a:pt x="393800" y="196900"/>
                  </a:moveTo>
                  <a:cubicBezTo>
                    <a:pt x="393800" y="305644"/>
                    <a:pt x="305645" y="393799"/>
                    <a:pt x="196900" y="393799"/>
                  </a:cubicBezTo>
                  <a:cubicBezTo>
                    <a:pt x="88155" y="393799"/>
                    <a:pt x="0" y="305644"/>
                    <a:pt x="0" y="196900"/>
                  </a:cubicBezTo>
                  <a:cubicBezTo>
                    <a:pt x="0" y="88155"/>
                    <a:pt x="88155" y="0"/>
                    <a:pt x="196900" y="0"/>
                  </a:cubicBezTo>
                  <a:cubicBezTo>
                    <a:pt x="305645" y="0"/>
                    <a:pt x="393800" y="88155"/>
                    <a:pt x="393800" y="196900"/>
                  </a:cubicBezTo>
                  <a:close/>
                </a:path>
              </a:pathLst>
            </a:custGeom>
            <a:solidFill>
              <a:schemeClr val="accent1"/>
            </a:solidFill>
            <a:ln w="649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76D2472-5715-45F4-88D6-068E73038E62}"/>
                </a:ext>
              </a:extLst>
            </p:cNvPr>
            <p:cNvSpPr/>
            <p:nvPr userDrawn="1"/>
          </p:nvSpPr>
          <p:spPr>
            <a:xfrm>
              <a:off x="1845032" y="668472"/>
              <a:ext cx="242725" cy="242725"/>
            </a:xfrm>
            <a:custGeom>
              <a:avLst/>
              <a:gdLst>
                <a:gd name="connsiteX0" fmla="*/ 242726 w 242725"/>
                <a:gd name="connsiteY0" fmla="*/ 121363 h 242725"/>
                <a:gd name="connsiteX1" fmla="*/ 121363 w 242725"/>
                <a:gd name="connsiteY1" fmla="*/ 242726 h 242725"/>
                <a:gd name="connsiteX2" fmla="*/ 0 w 242725"/>
                <a:gd name="connsiteY2" fmla="*/ 121363 h 242725"/>
                <a:gd name="connsiteX3" fmla="*/ 121363 w 242725"/>
                <a:gd name="connsiteY3" fmla="*/ 0 h 242725"/>
                <a:gd name="connsiteX4" fmla="*/ 242726 w 242725"/>
                <a:gd name="connsiteY4" fmla="*/ 121363 h 242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25" h="242725">
                  <a:moveTo>
                    <a:pt x="242726" y="121363"/>
                  </a:moveTo>
                  <a:cubicBezTo>
                    <a:pt x="242726" y="188390"/>
                    <a:pt x="188390" y="242726"/>
                    <a:pt x="121363" y="242726"/>
                  </a:cubicBezTo>
                  <a:cubicBezTo>
                    <a:pt x="54336" y="242726"/>
                    <a:pt x="0" y="188390"/>
                    <a:pt x="0" y="121363"/>
                  </a:cubicBezTo>
                  <a:cubicBezTo>
                    <a:pt x="0" y="54336"/>
                    <a:pt x="54336" y="0"/>
                    <a:pt x="121363" y="0"/>
                  </a:cubicBezTo>
                  <a:cubicBezTo>
                    <a:pt x="188390" y="0"/>
                    <a:pt x="242726" y="54336"/>
                    <a:pt x="242726" y="121363"/>
                  </a:cubicBezTo>
                  <a:close/>
                </a:path>
              </a:pathLst>
            </a:custGeom>
            <a:solidFill>
              <a:schemeClr val="accent1"/>
            </a:solidFill>
            <a:ln w="649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02ED72A7-C4EB-4B09-B530-ACD057C2B22F}"/>
                </a:ext>
              </a:extLst>
            </p:cNvPr>
            <p:cNvSpPr/>
            <p:nvPr userDrawn="1"/>
          </p:nvSpPr>
          <p:spPr>
            <a:xfrm>
              <a:off x="2857052" y="1449107"/>
              <a:ext cx="242725" cy="242725"/>
            </a:xfrm>
            <a:custGeom>
              <a:avLst/>
              <a:gdLst>
                <a:gd name="connsiteX0" fmla="*/ 242726 w 242725"/>
                <a:gd name="connsiteY0" fmla="*/ 121363 h 242725"/>
                <a:gd name="connsiteX1" fmla="*/ 121363 w 242725"/>
                <a:gd name="connsiteY1" fmla="*/ 242726 h 242725"/>
                <a:gd name="connsiteX2" fmla="*/ 0 w 242725"/>
                <a:gd name="connsiteY2" fmla="*/ 121363 h 242725"/>
                <a:gd name="connsiteX3" fmla="*/ 121363 w 242725"/>
                <a:gd name="connsiteY3" fmla="*/ 0 h 242725"/>
                <a:gd name="connsiteX4" fmla="*/ 242726 w 242725"/>
                <a:gd name="connsiteY4" fmla="*/ 121363 h 242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25" h="242725">
                  <a:moveTo>
                    <a:pt x="242726" y="121363"/>
                  </a:moveTo>
                  <a:cubicBezTo>
                    <a:pt x="242726" y="188390"/>
                    <a:pt x="188390" y="242726"/>
                    <a:pt x="121363" y="242726"/>
                  </a:cubicBezTo>
                  <a:cubicBezTo>
                    <a:pt x="54336" y="242726"/>
                    <a:pt x="0" y="188390"/>
                    <a:pt x="0" y="121363"/>
                  </a:cubicBezTo>
                  <a:cubicBezTo>
                    <a:pt x="0" y="54336"/>
                    <a:pt x="54336" y="0"/>
                    <a:pt x="121363" y="0"/>
                  </a:cubicBezTo>
                  <a:cubicBezTo>
                    <a:pt x="188390" y="0"/>
                    <a:pt x="242726" y="54336"/>
                    <a:pt x="242726" y="121363"/>
                  </a:cubicBezTo>
                  <a:close/>
                </a:path>
              </a:pathLst>
            </a:custGeom>
            <a:solidFill>
              <a:schemeClr val="accent1"/>
            </a:solidFill>
            <a:ln w="649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395C42C-FD55-40FB-A002-AC953099CD99}"/>
                </a:ext>
              </a:extLst>
            </p:cNvPr>
            <p:cNvSpPr/>
            <p:nvPr userDrawn="1"/>
          </p:nvSpPr>
          <p:spPr>
            <a:xfrm>
              <a:off x="1002014" y="1086526"/>
              <a:ext cx="1928750" cy="1928750"/>
            </a:xfrm>
            <a:custGeom>
              <a:avLst/>
              <a:gdLst>
                <a:gd name="connsiteX0" fmla="*/ 1928750 w 1928750"/>
                <a:gd name="connsiteY0" fmla="*/ 964375 h 1928750"/>
                <a:gd name="connsiteX1" fmla="*/ 964375 w 1928750"/>
                <a:gd name="connsiteY1" fmla="*/ 1928751 h 1928750"/>
                <a:gd name="connsiteX2" fmla="*/ 0 w 1928750"/>
                <a:gd name="connsiteY2" fmla="*/ 964375 h 1928750"/>
                <a:gd name="connsiteX3" fmla="*/ 964375 w 1928750"/>
                <a:gd name="connsiteY3" fmla="*/ 0 h 1928750"/>
                <a:gd name="connsiteX4" fmla="*/ 1928750 w 1928750"/>
                <a:gd name="connsiteY4" fmla="*/ 964375 h 192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8750" h="1928750">
                  <a:moveTo>
                    <a:pt x="1928750" y="964375"/>
                  </a:moveTo>
                  <a:cubicBezTo>
                    <a:pt x="1928750" y="1496985"/>
                    <a:pt x="1496985" y="1928751"/>
                    <a:pt x="964375" y="1928751"/>
                  </a:cubicBezTo>
                  <a:cubicBezTo>
                    <a:pt x="431765" y="1928751"/>
                    <a:pt x="0" y="1496985"/>
                    <a:pt x="0" y="964375"/>
                  </a:cubicBezTo>
                  <a:cubicBezTo>
                    <a:pt x="0" y="431765"/>
                    <a:pt x="431765" y="0"/>
                    <a:pt x="964375" y="0"/>
                  </a:cubicBezTo>
                  <a:cubicBezTo>
                    <a:pt x="1496985" y="0"/>
                    <a:pt x="1928750" y="431765"/>
                    <a:pt x="1928750" y="964375"/>
                  </a:cubicBezTo>
                  <a:close/>
                </a:path>
              </a:pathLst>
            </a:custGeom>
            <a:solidFill>
              <a:schemeClr val="accent4"/>
            </a:solidFill>
            <a:ln w="6493"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F781C5F-5BA1-4BE6-8892-0AF3185F8E32}"/>
                </a:ext>
              </a:extLst>
            </p:cNvPr>
            <p:cNvSpPr/>
            <p:nvPr userDrawn="1"/>
          </p:nvSpPr>
          <p:spPr>
            <a:xfrm>
              <a:off x="1966408" y="1617868"/>
              <a:ext cx="392279" cy="412110"/>
            </a:xfrm>
            <a:custGeom>
              <a:avLst/>
              <a:gdLst>
                <a:gd name="connsiteX0" fmla="*/ 392279 w 392279"/>
                <a:gd name="connsiteY0" fmla="*/ 0 h 412110"/>
                <a:gd name="connsiteX1" fmla="*/ 392279 w 392279"/>
                <a:gd name="connsiteY1" fmla="*/ 0 h 412110"/>
                <a:gd name="connsiteX2" fmla="*/ 392279 w 392279"/>
                <a:gd name="connsiteY2" fmla="*/ 412110 h 412110"/>
                <a:gd name="connsiteX3" fmla="*/ 0 w 392279"/>
                <a:gd name="connsiteY3" fmla="*/ 412110 h 412110"/>
                <a:gd name="connsiteX4" fmla="*/ 0 w 392279"/>
                <a:gd name="connsiteY4" fmla="*/ 411902 h 412110"/>
                <a:gd name="connsiteX5" fmla="*/ 312638 w 392279"/>
                <a:gd name="connsiteY5" fmla="*/ 12062 h 412110"/>
                <a:gd name="connsiteX6" fmla="*/ 392279 w 392279"/>
                <a:gd name="connsiteY6" fmla="*/ 0 h 41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279" h="412110">
                  <a:moveTo>
                    <a:pt x="392279" y="0"/>
                  </a:moveTo>
                  <a:lnTo>
                    <a:pt x="392279" y="0"/>
                  </a:lnTo>
                  <a:lnTo>
                    <a:pt x="392279" y="412110"/>
                  </a:lnTo>
                  <a:lnTo>
                    <a:pt x="0" y="412110"/>
                  </a:lnTo>
                  <a:lnTo>
                    <a:pt x="0" y="411902"/>
                  </a:lnTo>
                  <a:cubicBezTo>
                    <a:pt x="703" y="222876"/>
                    <a:pt x="129360" y="58333"/>
                    <a:pt x="312638" y="12062"/>
                  </a:cubicBezTo>
                  <a:cubicBezTo>
                    <a:pt x="338736" y="5495"/>
                    <a:pt x="365407" y="1456"/>
                    <a:pt x="392279" y="0"/>
                  </a:cubicBezTo>
                  <a:close/>
                </a:path>
              </a:pathLst>
            </a:custGeom>
            <a:solidFill>
              <a:schemeClr val="accent3"/>
            </a:solidFill>
            <a:ln w="6493"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DE3703D7-8338-4B96-913A-F1BA7ABBEAAB}"/>
                </a:ext>
              </a:extLst>
            </p:cNvPr>
            <p:cNvSpPr/>
            <p:nvPr userDrawn="1"/>
          </p:nvSpPr>
          <p:spPr>
            <a:xfrm>
              <a:off x="1405446" y="1518941"/>
              <a:ext cx="711866" cy="779154"/>
            </a:xfrm>
            <a:custGeom>
              <a:avLst/>
              <a:gdLst>
                <a:gd name="connsiteX0" fmla="*/ 711867 w 711866"/>
                <a:gd name="connsiteY0" fmla="*/ 779155 h 779154"/>
                <a:gd name="connsiteX1" fmla="*/ 705131 w 711866"/>
                <a:gd name="connsiteY1" fmla="*/ 778901 h 779154"/>
                <a:gd name="connsiteX2" fmla="*/ 437514 w 711866"/>
                <a:gd name="connsiteY2" fmla="*/ 574408 h 779154"/>
                <a:gd name="connsiteX3" fmla="*/ 93107 w 711866"/>
                <a:gd name="connsiteY3" fmla="*/ 154594 h 779154"/>
                <a:gd name="connsiteX4" fmla="*/ 708 w 711866"/>
                <a:gd name="connsiteY4" fmla="*/ 7145 h 779154"/>
                <a:gd name="connsiteX5" fmla="*/ 0 w 711866"/>
                <a:gd name="connsiteY5" fmla="*/ 0 h 779154"/>
                <a:gd name="connsiteX6" fmla="*/ 711867 w 711866"/>
                <a:gd name="connsiteY6" fmla="*/ 0 h 779154"/>
                <a:gd name="connsiteX7" fmla="*/ 14453 w 711866"/>
                <a:gd name="connsiteY7" fmla="*/ 12965 h 779154"/>
                <a:gd name="connsiteX8" fmla="*/ 100291 w 711866"/>
                <a:gd name="connsiteY8" fmla="*/ 143747 h 779154"/>
                <a:gd name="connsiteX9" fmla="*/ 449486 w 711866"/>
                <a:gd name="connsiteY9" fmla="*/ 569381 h 779154"/>
                <a:gd name="connsiteX10" fmla="*/ 698876 w 711866"/>
                <a:gd name="connsiteY10" fmla="*/ 765631 h 779154"/>
                <a:gd name="connsiteX11" fmla="*/ 698876 w 711866"/>
                <a:gd name="connsiteY11" fmla="*/ 12965 h 77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866" h="779154">
                  <a:moveTo>
                    <a:pt x="711867" y="779155"/>
                  </a:moveTo>
                  <a:lnTo>
                    <a:pt x="705131" y="778901"/>
                  </a:lnTo>
                  <a:cubicBezTo>
                    <a:pt x="519813" y="771964"/>
                    <a:pt x="485289" y="689094"/>
                    <a:pt x="437514" y="574408"/>
                  </a:cubicBezTo>
                  <a:cubicBezTo>
                    <a:pt x="391117" y="463068"/>
                    <a:pt x="327577" y="310591"/>
                    <a:pt x="93107" y="154594"/>
                  </a:cubicBezTo>
                  <a:cubicBezTo>
                    <a:pt x="37811" y="117842"/>
                    <a:pt x="6716" y="68203"/>
                    <a:pt x="708" y="7145"/>
                  </a:cubicBezTo>
                  <a:lnTo>
                    <a:pt x="0" y="0"/>
                  </a:lnTo>
                  <a:lnTo>
                    <a:pt x="711867" y="0"/>
                  </a:lnTo>
                  <a:close/>
                  <a:moveTo>
                    <a:pt x="14453" y="12965"/>
                  </a:moveTo>
                  <a:cubicBezTo>
                    <a:pt x="21728" y="66742"/>
                    <a:pt x="50574" y="110710"/>
                    <a:pt x="100291" y="143747"/>
                  </a:cubicBezTo>
                  <a:cubicBezTo>
                    <a:pt x="338029" y="301933"/>
                    <a:pt x="402458" y="456507"/>
                    <a:pt x="449486" y="569381"/>
                  </a:cubicBezTo>
                  <a:cubicBezTo>
                    <a:pt x="496514" y="682254"/>
                    <a:pt x="527803" y="757356"/>
                    <a:pt x="698876" y="765631"/>
                  </a:cubicBezTo>
                  <a:lnTo>
                    <a:pt x="698876" y="12965"/>
                  </a:lnTo>
                  <a:close/>
                </a:path>
              </a:pathLst>
            </a:custGeom>
            <a:solidFill>
              <a:schemeClr val="tx1"/>
            </a:solidFill>
            <a:ln w="6493"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148ACA4-6A84-45D4-B1D3-5C0C4293D02A}"/>
                </a:ext>
              </a:extLst>
            </p:cNvPr>
            <p:cNvSpPr/>
            <p:nvPr userDrawn="1"/>
          </p:nvSpPr>
          <p:spPr>
            <a:xfrm>
              <a:off x="2206542" y="2150283"/>
              <a:ext cx="487095" cy="511706"/>
            </a:xfrm>
            <a:custGeom>
              <a:avLst/>
              <a:gdLst>
                <a:gd name="connsiteX0" fmla="*/ 0 w 487095"/>
                <a:gd name="connsiteY0" fmla="*/ 511707 h 511706"/>
                <a:gd name="connsiteX1" fmla="*/ 0 w 487095"/>
                <a:gd name="connsiteY1" fmla="*/ 511707 h 511706"/>
                <a:gd name="connsiteX2" fmla="*/ 0 w 487095"/>
                <a:gd name="connsiteY2" fmla="*/ 0 h 511706"/>
                <a:gd name="connsiteX3" fmla="*/ 487095 w 487095"/>
                <a:gd name="connsiteY3" fmla="*/ 0 h 511706"/>
                <a:gd name="connsiteX4" fmla="*/ 487095 w 487095"/>
                <a:gd name="connsiteY4" fmla="*/ 260 h 511706"/>
                <a:gd name="connsiteX5" fmla="*/ 98888 w 487095"/>
                <a:gd name="connsiteY5" fmla="*/ 496702 h 511706"/>
                <a:gd name="connsiteX6" fmla="*/ 0 w 487095"/>
                <a:gd name="connsiteY6" fmla="*/ 511707 h 51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095" h="511706">
                  <a:moveTo>
                    <a:pt x="0" y="511707"/>
                  </a:moveTo>
                  <a:lnTo>
                    <a:pt x="0" y="511707"/>
                  </a:lnTo>
                  <a:lnTo>
                    <a:pt x="0" y="0"/>
                  </a:lnTo>
                  <a:lnTo>
                    <a:pt x="487095" y="0"/>
                  </a:lnTo>
                  <a:lnTo>
                    <a:pt x="487095" y="260"/>
                  </a:lnTo>
                  <a:cubicBezTo>
                    <a:pt x="486219" y="234967"/>
                    <a:pt x="326461" y="439267"/>
                    <a:pt x="98888" y="496702"/>
                  </a:cubicBezTo>
                  <a:cubicBezTo>
                    <a:pt x="66484" y="504868"/>
                    <a:pt x="33368" y="509893"/>
                    <a:pt x="0" y="511707"/>
                  </a:cubicBezTo>
                  <a:close/>
                </a:path>
              </a:pathLst>
            </a:custGeom>
            <a:solidFill>
              <a:schemeClr val="tx2"/>
            </a:solidFill>
            <a:ln w="649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31E08FF9-CB1A-4976-8A44-7E36B0ECFFB2}"/>
                </a:ext>
              </a:extLst>
            </p:cNvPr>
            <p:cNvSpPr/>
            <p:nvPr userDrawn="1"/>
          </p:nvSpPr>
          <p:spPr>
            <a:xfrm>
              <a:off x="1426582" y="2309249"/>
              <a:ext cx="352779" cy="155152"/>
            </a:xfrm>
            <a:custGeom>
              <a:avLst/>
              <a:gdLst>
                <a:gd name="connsiteX0" fmla="*/ 0 w 352779"/>
                <a:gd name="connsiteY0" fmla="*/ 0 h 155152"/>
                <a:gd name="connsiteX1" fmla="*/ 352780 w 352779"/>
                <a:gd name="connsiteY1" fmla="*/ 0 h 155152"/>
                <a:gd name="connsiteX2" fmla="*/ 352780 w 352779"/>
                <a:gd name="connsiteY2" fmla="*/ 155153 h 155152"/>
                <a:gd name="connsiteX3" fmla="*/ 0 w 352779"/>
                <a:gd name="connsiteY3" fmla="*/ 155153 h 155152"/>
              </a:gdLst>
              <a:ahLst/>
              <a:cxnLst>
                <a:cxn ang="0">
                  <a:pos x="connsiteX0" y="connsiteY0"/>
                </a:cxn>
                <a:cxn ang="0">
                  <a:pos x="connsiteX1" y="connsiteY1"/>
                </a:cxn>
                <a:cxn ang="0">
                  <a:pos x="connsiteX2" y="connsiteY2"/>
                </a:cxn>
                <a:cxn ang="0">
                  <a:pos x="connsiteX3" y="connsiteY3"/>
                </a:cxn>
              </a:cxnLst>
              <a:rect l="l" t="t" r="r" b="b"/>
              <a:pathLst>
                <a:path w="352779" h="155152">
                  <a:moveTo>
                    <a:pt x="0" y="0"/>
                  </a:moveTo>
                  <a:lnTo>
                    <a:pt x="352780" y="0"/>
                  </a:lnTo>
                  <a:lnTo>
                    <a:pt x="352780" y="155153"/>
                  </a:lnTo>
                  <a:lnTo>
                    <a:pt x="0" y="155153"/>
                  </a:lnTo>
                  <a:close/>
                </a:path>
              </a:pathLst>
            </a:custGeom>
            <a:solidFill>
              <a:schemeClr val="tx2"/>
            </a:solidFill>
            <a:ln w="649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6155C04-0C27-41D9-ADA1-B02E1F7EAA82}"/>
                </a:ext>
              </a:extLst>
            </p:cNvPr>
            <p:cNvSpPr/>
            <p:nvPr userDrawn="1"/>
          </p:nvSpPr>
          <p:spPr>
            <a:xfrm>
              <a:off x="1799076" y="2309463"/>
              <a:ext cx="134360" cy="154769"/>
            </a:xfrm>
            <a:custGeom>
              <a:avLst/>
              <a:gdLst>
                <a:gd name="connsiteX0" fmla="*/ 221 w 134360"/>
                <a:gd name="connsiteY0" fmla="*/ 154770 h 154769"/>
                <a:gd name="connsiteX1" fmla="*/ 0 w 134360"/>
                <a:gd name="connsiteY1" fmla="*/ 0 h 154769"/>
                <a:gd name="connsiteX2" fmla="*/ 134360 w 134360"/>
                <a:gd name="connsiteY2" fmla="*/ 77577 h 154769"/>
              </a:gdLst>
              <a:ahLst/>
              <a:cxnLst>
                <a:cxn ang="0">
                  <a:pos x="connsiteX0" y="connsiteY0"/>
                </a:cxn>
                <a:cxn ang="0">
                  <a:pos x="connsiteX1" y="connsiteY1"/>
                </a:cxn>
                <a:cxn ang="0">
                  <a:pos x="connsiteX2" y="connsiteY2"/>
                </a:cxn>
              </a:cxnLst>
              <a:rect l="l" t="t" r="r" b="b"/>
              <a:pathLst>
                <a:path w="134360" h="154769">
                  <a:moveTo>
                    <a:pt x="221" y="154770"/>
                  </a:moveTo>
                  <a:lnTo>
                    <a:pt x="0" y="0"/>
                  </a:lnTo>
                  <a:lnTo>
                    <a:pt x="134360" y="77577"/>
                  </a:lnTo>
                  <a:close/>
                </a:path>
              </a:pathLst>
            </a:custGeom>
            <a:solidFill>
              <a:schemeClr val="accent2"/>
            </a:solidFill>
            <a:ln w="6493" cap="flat">
              <a:noFill/>
              <a:prstDash val="solid"/>
              <a:miter/>
            </a:ln>
          </p:spPr>
          <p:txBody>
            <a:bodyPr rtlCol="0" anchor="ctr"/>
            <a:lstStyle/>
            <a:p>
              <a:endParaRPr lang="en-US"/>
            </a:p>
          </p:txBody>
        </p:sp>
      </p:grpSp>
    </p:spTree>
    <p:extLst>
      <p:ext uri="{BB962C8B-B14F-4D97-AF65-F5344CB8AC3E}">
        <p14:creationId xmlns:p14="http://schemas.microsoft.com/office/powerpoint/2010/main" val="2511258457"/>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apittel 7">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098DEE0-4831-4111-A35B-803560731C83}"/>
              </a:ext>
            </a:extLst>
          </p:cNvPr>
          <p:cNvGrpSpPr/>
          <p:nvPr userDrawn="1"/>
        </p:nvGrpSpPr>
        <p:grpSpPr>
          <a:xfrm>
            <a:off x="655748" y="4551718"/>
            <a:ext cx="1646885" cy="1735167"/>
            <a:chOff x="655748" y="4551718"/>
            <a:chExt cx="1646885" cy="1735167"/>
          </a:xfrm>
        </p:grpSpPr>
        <p:sp>
          <p:nvSpPr>
            <p:cNvPr id="7" name="Freeform: Shape 6">
              <a:extLst>
                <a:ext uri="{FF2B5EF4-FFF2-40B4-BE49-F238E27FC236}">
                  <a16:creationId xmlns:a16="http://schemas.microsoft.com/office/drawing/2014/main" id="{203AFA82-12A0-47AC-877C-8B76876C21C4}"/>
                </a:ext>
              </a:extLst>
            </p:cNvPr>
            <p:cNvSpPr/>
            <p:nvPr/>
          </p:nvSpPr>
          <p:spPr>
            <a:xfrm>
              <a:off x="1733736" y="4551718"/>
              <a:ext cx="568897" cy="1199573"/>
            </a:xfrm>
            <a:custGeom>
              <a:avLst/>
              <a:gdLst>
                <a:gd name="connsiteX0" fmla="*/ 0 w 568897"/>
                <a:gd name="connsiteY0" fmla="*/ 1199574 h 1199573"/>
                <a:gd name="connsiteX1" fmla="*/ 0 w 568897"/>
                <a:gd name="connsiteY1" fmla="*/ 1199574 h 1199573"/>
                <a:gd name="connsiteX2" fmla="*/ 568043 w 568897"/>
                <a:gd name="connsiteY2" fmla="*/ 568043 h 1199573"/>
                <a:gd name="connsiteX3" fmla="*/ 0 w 568897"/>
                <a:gd name="connsiteY3" fmla="*/ 0 h 1199573"/>
                <a:gd name="connsiteX4" fmla="*/ 0 w 568897"/>
                <a:gd name="connsiteY4" fmla="*/ 1199574 h 119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897" h="1199573">
                  <a:moveTo>
                    <a:pt x="0" y="1199574"/>
                  </a:moveTo>
                  <a:lnTo>
                    <a:pt x="0" y="1199574"/>
                  </a:lnTo>
                  <a:cubicBezTo>
                    <a:pt x="331253" y="1182042"/>
                    <a:pt x="585575" y="899297"/>
                    <a:pt x="568043" y="568043"/>
                  </a:cubicBezTo>
                  <a:cubicBezTo>
                    <a:pt x="551809" y="261298"/>
                    <a:pt x="306746" y="16234"/>
                    <a:pt x="0" y="0"/>
                  </a:cubicBezTo>
                  <a:lnTo>
                    <a:pt x="0" y="1199574"/>
                  </a:lnTo>
                  <a:close/>
                </a:path>
              </a:pathLst>
            </a:custGeom>
            <a:solidFill>
              <a:schemeClr val="bg1"/>
            </a:solidFill>
            <a:ln w="5023"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2859FABF-B4B0-4E38-98B5-00C71DE74C3B}"/>
                </a:ext>
              </a:extLst>
            </p:cNvPr>
            <p:cNvSpPr/>
            <p:nvPr/>
          </p:nvSpPr>
          <p:spPr>
            <a:xfrm>
              <a:off x="1780578" y="4864399"/>
              <a:ext cx="334626" cy="351530"/>
            </a:xfrm>
            <a:custGeom>
              <a:avLst/>
              <a:gdLst>
                <a:gd name="connsiteX0" fmla="*/ 334626 w 334626"/>
                <a:gd name="connsiteY0" fmla="*/ 0 h 351530"/>
                <a:gd name="connsiteX1" fmla="*/ 334626 w 334626"/>
                <a:gd name="connsiteY1" fmla="*/ 0 h 351530"/>
                <a:gd name="connsiteX2" fmla="*/ 334626 w 334626"/>
                <a:gd name="connsiteY2" fmla="*/ 351530 h 351530"/>
                <a:gd name="connsiteX3" fmla="*/ 0 w 334626"/>
                <a:gd name="connsiteY3" fmla="*/ 351530 h 351530"/>
                <a:gd name="connsiteX4" fmla="*/ 0 w 334626"/>
                <a:gd name="connsiteY4" fmla="*/ 351349 h 351530"/>
                <a:gd name="connsiteX5" fmla="*/ 266694 w 334626"/>
                <a:gd name="connsiteY5" fmla="*/ 10289 h 351530"/>
                <a:gd name="connsiteX6" fmla="*/ 334626 w 334626"/>
                <a:gd name="connsiteY6" fmla="*/ 0 h 35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626" h="351530">
                  <a:moveTo>
                    <a:pt x="334626" y="0"/>
                  </a:moveTo>
                  <a:lnTo>
                    <a:pt x="334626" y="0"/>
                  </a:lnTo>
                  <a:lnTo>
                    <a:pt x="334626" y="351530"/>
                  </a:lnTo>
                  <a:lnTo>
                    <a:pt x="0" y="351530"/>
                  </a:lnTo>
                  <a:lnTo>
                    <a:pt x="0" y="351349"/>
                  </a:lnTo>
                  <a:cubicBezTo>
                    <a:pt x="590" y="190102"/>
                    <a:pt x="110346" y="49741"/>
                    <a:pt x="266694" y="10289"/>
                  </a:cubicBezTo>
                  <a:cubicBezTo>
                    <a:pt x="288954" y="4684"/>
                    <a:pt x="311704" y="1238"/>
                    <a:pt x="334626" y="0"/>
                  </a:cubicBezTo>
                  <a:close/>
                </a:path>
              </a:pathLst>
            </a:custGeom>
            <a:solidFill>
              <a:schemeClr val="accent3"/>
            </a:solidFill>
            <a:ln w="502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A7EB89A1-BD7D-4078-9C7B-84A4588F3625}"/>
                </a:ext>
              </a:extLst>
            </p:cNvPr>
            <p:cNvSpPr/>
            <p:nvPr/>
          </p:nvSpPr>
          <p:spPr>
            <a:xfrm>
              <a:off x="655748" y="5215783"/>
              <a:ext cx="977032" cy="1071102"/>
            </a:xfrm>
            <a:custGeom>
              <a:avLst/>
              <a:gdLst>
                <a:gd name="connsiteX0" fmla="*/ 977032 w 977032"/>
                <a:gd name="connsiteY0" fmla="*/ 1071102 h 1071102"/>
                <a:gd name="connsiteX1" fmla="*/ 974424 w 977032"/>
                <a:gd name="connsiteY1" fmla="*/ 1071002 h 1071102"/>
                <a:gd name="connsiteX2" fmla="*/ 607729 w 977032"/>
                <a:gd name="connsiteY2" fmla="*/ 790400 h 1071102"/>
                <a:gd name="connsiteX3" fmla="*/ 125983 w 977032"/>
                <a:gd name="connsiteY3" fmla="*/ 203189 h 1071102"/>
                <a:gd name="connsiteX4" fmla="*/ 272 w 977032"/>
                <a:gd name="connsiteY4" fmla="*/ 2759 h 1071102"/>
                <a:gd name="connsiteX5" fmla="*/ 0 w 977032"/>
                <a:gd name="connsiteY5" fmla="*/ 0 h 1071102"/>
                <a:gd name="connsiteX6" fmla="*/ 977032 w 977032"/>
                <a:gd name="connsiteY6" fmla="*/ 0 h 1071102"/>
                <a:gd name="connsiteX7" fmla="*/ 5574 w 977032"/>
                <a:gd name="connsiteY7" fmla="*/ 5036 h 1071102"/>
                <a:gd name="connsiteX8" fmla="*/ 128778 w 977032"/>
                <a:gd name="connsiteY8" fmla="*/ 199017 h 1071102"/>
                <a:gd name="connsiteX9" fmla="*/ 612383 w 977032"/>
                <a:gd name="connsiteY9" fmla="*/ 788475 h 1071102"/>
                <a:gd name="connsiteX10" fmla="*/ 972021 w 977032"/>
                <a:gd name="connsiteY10" fmla="*/ 1065890 h 1071102"/>
                <a:gd name="connsiteX11" fmla="*/ 972021 w 977032"/>
                <a:gd name="connsiteY11" fmla="*/ 5036 h 107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7032" h="1071102">
                  <a:moveTo>
                    <a:pt x="977032" y="1071102"/>
                  </a:moveTo>
                  <a:lnTo>
                    <a:pt x="974424" y="1071002"/>
                  </a:lnTo>
                  <a:cubicBezTo>
                    <a:pt x="720693" y="1061492"/>
                    <a:pt x="675752" y="953649"/>
                    <a:pt x="607729" y="790400"/>
                  </a:cubicBezTo>
                  <a:cubicBezTo>
                    <a:pt x="542837" y="634680"/>
                    <a:pt x="453964" y="421408"/>
                    <a:pt x="125983" y="203189"/>
                  </a:cubicBezTo>
                  <a:cubicBezTo>
                    <a:pt x="50737" y="153181"/>
                    <a:pt x="8445" y="85746"/>
                    <a:pt x="272" y="2759"/>
                  </a:cubicBezTo>
                  <a:lnTo>
                    <a:pt x="0" y="0"/>
                  </a:lnTo>
                  <a:lnTo>
                    <a:pt x="977032" y="0"/>
                  </a:lnTo>
                  <a:close/>
                  <a:moveTo>
                    <a:pt x="5574" y="5036"/>
                  </a:moveTo>
                  <a:cubicBezTo>
                    <a:pt x="14250" y="85178"/>
                    <a:pt x="55693" y="150437"/>
                    <a:pt x="128778" y="199017"/>
                  </a:cubicBezTo>
                  <a:cubicBezTo>
                    <a:pt x="458036" y="418075"/>
                    <a:pt x="547245" y="632162"/>
                    <a:pt x="612383" y="788475"/>
                  </a:cubicBezTo>
                  <a:cubicBezTo>
                    <a:pt x="679426" y="949372"/>
                    <a:pt x="723800" y="1055857"/>
                    <a:pt x="972021" y="1065890"/>
                  </a:cubicBezTo>
                  <a:lnTo>
                    <a:pt x="972021" y="5036"/>
                  </a:lnTo>
                  <a:close/>
                </a:path>
              </a:pathLst>
            </a:custGeom>
            <a:solidFill>
              <a:schemeClr val="bg1"/>
            </a:solidFill>
            <a:ln w="5023"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2970644-E0F4-4520-93D5-053B346F439B}"/>
                </a:ext>
              </a:extLst>
            </p:cNvPr>
            <p:cNvSpPr/>
            <p:nvPr/>
          </p:nvSpPr>
          <p:spPr>
            <a:xfrm>
              <a:off x="1294359" y="4712987"/>
              <a:ext cx="335907" cy="335907"/>
            </a:xfrm>
            <a:custGeom>
              <a:avLst/>
              <a:gdLst>
                <a:gd name="connsiteX0" fmla="*/ 335908 w 335907"/>
                <a:gd name="connsiteY0" fmla="*/ 167954 h 335907"/>
                <a:gd name="connsiteX1" fmla="*/ 167954 w 335907"/>
                <a:gd name="connsiteY1" fmla="*/ 335908 h 335907"/>
                <a:gd name="connsiteX2" fmla="*/ 0 w 335907"/>
                <a:gd name="connsiteY2" fmla="*/ 167954 h 335907"/>
                <a:gd name="connsiteX3" fmla="*/ 167954 w 335907"/>
                <a:gd name="connsiteY3" fmla="*/ 0 h 335907"/>
                <a:gd name="connsiteX4" fmla="*/ 335908 w 335907"/>
                <a:gd name="connsiteY4" fmla="*/ 167954 h 335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07" h="335907">
                  <a:moveTo>
                    <a:pt x="335908" y="167954"/>
                  </a:moveTo>
                  <a:cubicBezTo>
                    <a:pt x="335908" y="260712"/>
                    <a:pt x="260712" y="335908"/>
                    <a:pt x="167954" y="335908"/>
                  </a:cubicBezTo>
                  <a:cubicBezTo>
                    <a:pt x="75196" y="335908"/>
                    <a:pt x="0" y="260712"/>
                    <a:pt x="0" y="167954"/>
                  </a:cubicBezTo>
                  <a:cubicBezTo>
                    <a:pt x="0" y="75196"/>
                    <a:pt x="75196" y="0"/>
                    <a:pt x="167954" y="0"/>
                  </a:cubicBezTo>
                  <a:cubicBezTo>
                    <a:pt x="260712" y="0"/>
                    <a:pt x="335908" y="75196"/>
                    <a:pt x="335908" y="167954"/>
                  </a:cubicBezTo>
                  <a:close/>
                </a:path>
              </a:pathLst>
            </a:custGeom>
            <a:solidFill>
              <a:schemeClr val="accent1"/>
            </a:solidFill>
            <a:ln w="502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FA9042F5-4D8F-4185-9361-03C7324C575B}"/>
                </a:ext>
              </a:extLst>
            </p:cNvPr>
            <p:cNvSpPr/>
            <p:nvPr/>
          </p:nvSpPr>
          <p:spPr>
            <a:xfrm>
              <a:off x="802053" y="5555712"/>
              <a:ext cx="660265" cy="492964"/>
            </a:xfrm>
            <a:custGeom>
              <a:avLst/>
              <a:gdLst>
                <a:gd name="connsiteX0" fmla="*/ 0 w 660265"/>
                <a:gd name="connsiteY0" fmla="*/ 0 h 492964"/>
                <a:gd name="connsiteX1" fmla="*/ 660265 w 660265"/>
                <a:gd name="connsiteY1" fmla="*/ 0 h 492964"/>
                <a:gd name="connsiteX2" fmla="*/ 660265 w 660265"/>
                <a:gd name="connsiteY2" fmla="*/ 492965 h 492964"/>
                <a:gd name="connsiteX3" fmla="*/ 0 w 660265"/>
                <a:gd name="connsiteY3" fmla="*/ 492965 h 492964"/>
              </a:gdLst>
              <a:ahLst/>
              <a:cxnLst>
                <a:cxn ang="0">
                  <a:pos x="connsiteX0" y="connsiteY0"/>
                </a:cxn>
                <a:cxn ang="0">
                  <a:pos x="connsiteX1" y="connsiteY1"/>
                </a:cxn>
                <a:cxn ang="0">
                  <a:pos x="connsiteX2" y="connsiteY2"/>
                </a:cxn>
                <a:cxn ang="0">
                  <a:pos x="connsiteX3" y="connsiteY3"/>
                </a:cxn>
              </a:cxnLst>
              <a:rect l="l" t="t" r="r" b="b"/>
              <a:pathLst>
                <a:path w="660265" h="492964">
                  <a:moveTo>
                    <a:pt x="0" y="0"/>
                  </a:moveTo>
                  <a:lnTo>
                    <a:pt x="660265" y="0"/>
                  </a:lnTo>
                  <a:lnTo>
                    <a:pt x="660265" y="492965"/>
                  </a:lnTo>
                  <a:lnTo>
                    <a:pt x="0" y="492965"/>
                  </a:lnTo>
                  <a:close/>
                </a:path>
              </a:pathLst>
            </a:custGeom>
            <a:solidFill>
              <a:schemeClr val="accent1"/>
            </a:solidFill>
            <a:ln w="502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0E1719E-0A39-4B5D-9A91-93111541A716}"/>
                </a:ext>
              </a:extLst>
            </p:cNvPr>
            <p:cNvSpPr/>
            <p:nvPr/>
          </p:nvSpPr>
          <p:spPr>
            <a:xfrm>
              <a:off x="1733736" y="5847805"/>
              <a:ext cx="415486" cy="436477"/>
            </a:xfrm>
            <a:custGeom>
              <a:avLst/>
              <a:gdLst>
                <a:gd name="connsiteX0" fmla="*/ 0 w 415486"/>
                <a:gd name="connsiteY0" fmla="*/ 436477 h 436477"/>
                <a:gd name="connsiteX1" fmla="*/ 0 w 415486"/>
                <a:gd name="connsiteY1" fmla="*/ 436477 h 436477"/>
                <a:gd name="connsiteX2" fmla="*/ 0 w 415486"/>
                <a:gd name="connsiteY2" fmla="*/ 0 h 436477"/>
                <a:gd name="connsiteX3" fmla="*/ 415487 w 415486"/>
                <a:gd name="connsiteY3" fmla="*/ 0 h 436477"/>
                <a:gd name="connsiteX4" fmla="*/ 415487 w 415486"/>
                <a:gd name="connsiteY4" fmla="*/ 221 h 436477"/>
                <a:gd name="connsiteX5" fmla="*/ 84349 w 415486"/>
                <a:gd name="connsiteY5" fmla="*/ 423685 h 436477"/>
                <a:gd name="connsiteX6" fmla="*/ 0 w 415486"/>
                <a:gd name="connsiteY6" fmla="*/ 436477 h 43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486" h="436477">
                  <a:moveTo>
                    <a:pt x="0" y="436477"/>
                  </a:moveTo>
                  <a:lnTo>
                    <a:pt x="0" y="436477"/>
                  </a:lnTo>
                  <a:lnTo>
                    <a:pt x="0" y="0"/>
                  </a:lnTo>
                  <a:lnTo>
                    <a:pt x="415487" y="0"/>
                  </a:lnTo>
                  <a:lnTo>
                    <a:pt x="415487" y="221"/>
                  </a:lnTo>
                  <a:cubicBezTo>
                    <a:pt x="414741" y="200425"/>
                    <a:pt x="278467" y="374693"/>
                    <a:pt x="84349" y="423685"/>
                  </a:cubicBezTo>
                  <a:cubicBezTo>
                    <a:pt x="56708" y="430646"/>
                    <a:pt x="28462" y="434930"/>
                    <a:pt x="0" y="436477"/>
                  </a:cubicBezTo>
                  <a:close/>
                </a:path>
              </a:pathLst>
            </a:custGeom>
            <a:solidFill>
              <a:schemeClr val="accent4"/>
            </a:solidFill>
            <a:ln w="5023"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E89B03DF-B3C2-4148-A06B-C46D7B5FCBD2}"/>
                </a:ext>
              </a:extLst>
            </p:cNvPr>
            <p:cNvSpPr/>
            <p:nvPr/>
          </p:nvSpPr>
          <p:spPr>
            <a:xfrm>
              <a:off x="704565" y="5471751"/>
              <a:ext cx="660265" cy="492964"/>
            </a:xfrm>
            <a:custGeom>
              <a:avLst/>
              <a:gdLst>
                <a:gd name="connsiteX0" fmla="*/ 0 w 660265"/>
                <a:gd name="connsiteY0" fmla="*/ 0 h 492964"/>
                <a:gd name="connsiteX1" fmla="*/ 660265 w 660265"/>
                <a:gd name="connsiteY1" fmla="*/ 0 h 492964"/>
                <a:gd name="connsiteX2" fmla="*/ 660265 w 660265"/>
                <a:gd name="connsiteY2" fmla="*/ 492965 h 492964"/>
                <a:gd name="connsiteX3" fmla="*/ 0 w 660265"/>
                <a:gd name="connsiteY3" fmla="*/ 492965 h 492964"/>
              </a:gdLst>
              <a:ahLst/>
              <a:cxnLst>
                <a:cxn ang="0">
                  <a:pos x="connsiteX0" y="connsiteY0"/>
                </a:cxn>
                <a:cxn ang="0">
                  <a:pos x="connsiteX1" y="connsiteY1"/>
                </a:cxn>
                <a:cxn ang="0">
                  <a:pos x="connsiteX2" y="connsiteY2"/>
                </a:cxn>
                <a:cxn ang="0">
                  <a:pos x="connsiteX3" y="connsiteY3"/>
                </a:cxn>
              </a:cxnLst>
              <a:rect l="l" t="t" r="r" b="b"/>
              <a:pathLst>
                <a:path w="660265" h="492964">
                  <a:moveTo>
                    <a:pt x="0" y="0"/>
                  </a:moveTo>
                  <a:lnTo>
                    <a:pt x="660265" y="0"/>
                  </a:lnTo>
                  <a:lnTo>
                    <a:pt x="660265" y="492965"/>
                  </a:lnTo>
                  <a:lnTo>
                    <a:pt x="0" y="492965"/>
                  </a:lnTo>
                  <a:close/>
                </a:path>
              </a:pathLst>
            </a:custGeom>
            <a:solidFill>
              <a:schemeClr val="accent2"/>
            </a:solidFill>
            <a:ln w="502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84BED88D-442C-4B54-8369-BD21A42D657C}"/>
                </a:ext>
              </a:extLst>
            </p:cNvPr>
            <p:cNvSpPr/>
            <p:nvPr/>
          </p:nvSpPr>
          <p:spPr>
            <a:xfrm>
              <a:off x="879083" y="5703023"/>
              <a:ext cx="446123" cy="66117"/>
            </a:xfrm>
            <a:custGeom>
              <a:avLst/>
              <a:gdLst>
                <a:gd name="connsiteX0" fmla="*/ 0 w 446123"/>
                <a:gd name="connsiteY0" fmla="*/ 0 h 66117"/>
                <a:gd name="connsiteX1" fmla="*/ 446123 w 446123"/>
                <a:gd name="connsiteY1" fmla="*/ 0 h 66117"/>
                <a:gd name="connsiteX2" fmla="*/ 446123 w 446123"/>
                <a:gd name="connsiteY2" fmla="*/ 66118 h 66117"/>
                <a:gd name="connsiteX3" fmla="*/ 0 w 446123"/>
                <a:gd name="connsiteY3" fmla="*/ 66118 h 66117"/>
              </a:gdLst>
              <a:ahLst/>
              <a:cxnLst>
                <a:cxn ang="0">
                  <a:pos x="connsiteX0" y="connsiteY0"/>
                </a:cxn>
                <a:cxn ang="0">
                  <a:pos x="connsiteX1" y="connsiteY1"/>
                </a:cxn>
                <a:cxn ang="0">
                  <a:pos x="connsiteX2" y="connsiteY2"/>
                </a:cxn>
                <a:cxn ang="0">
                  <a:pos x="connsiteX3" y="connsiteY3"/>
                </a:cxn>
              </a:cxnLst>
              <a:rect l="l" t="t" r="r" b="b"/>
              <a:pathLst>
                <a:path w="446123" h="66117">
                  <a:moveTo>
                    <a:pt x="0" y="0"/>
                  </a:moveTo>
                  <a:lnTo>
                    <a:pt x="446123" y="0"/>
                  </a:lnTo>
                  <a:lnTo>
                    <a:pt x="446123" y="66118"/>
                  </a:lnTo>
                  <a:lnTo>
                    <a:pt x="0" y="66118"/>
                  </a:lnTo>
                  <a:close/>
                </a:path>
              </a:pathLst>
            </a:custGeom>
            <a:solidFill>
              <a:schemeClr val="bg2"/>
            </a:solidFill>
            <a:ln w="5023"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295325-234F-4D8D-9D39-605C8B56CF8F}"/>
                </a:ext>
              </a:extLst>
            </p:cNvPr>
            <p:cNvSpPr/>
            <p:nvPr/>
          </p:nvSpPr>
          <p:spPr>
            <a:xfrm>
              <a:off x="1021764" y="6093669"/>
              <a:ext cx="220832" cy="190613"/>
            </a:xfrm>
            <a:custGeom>
              <a:avLst/>
              <a:gdLst>
                <a:gd name="connsiteX0" fmla="*/ 110416 w 220832"/>
                <a:gd name="connsiteY0" fmla="*/ 0 h 190613"/>
                <a:gd name="connsiteX1" fmla="*/ 220832 w 220832"/>
                <a:gd name="connsiteY1" fmla="*/ 190613 h 190613"/>
                <a:gd name="connsiteX2" fmla="*/ 0 w 220832"/>
                <a:gd name="connsiteY2" fmla="*/ 190613 h 190613"/>
              </a:gdLst>
              <a:ahLst/>
              <a:cxnLst>
                <a:cxn ang="0">
                  <a:pos x="connsiteX0" y="connsiteY0"/>
                </a:cxn>
                <a:cxn ang="0">
                  <a:pos x="connsiteX1" y="connsiteY1"/>
                </a:cxn>
                <a:cxn ang="0">
                  <a:pos x="connsiteX2" y="connsiteY2"/>
                </a:cxn>
              </a:cxnLst>
              <a:rect l="l" t="t" r="r" b="b"/>
              <a:pathLst>
                <a:path w="220832" h="190613">
                  <a:moveTo>
                    <a:pt x="110416" y="0"/>
                  </a:moveTo>
                  <a:lnTo>
                    <a:pt x="220832" y="190613"/>
                  </a:lnTo>
                  <a:lnTo>
                    <a:pt x="0" y="190613"/>
                  </a:lnTo>
                  <a:close/>
                </a:path>
              </a:pathLst>
            </a:custGeom>
            <a:solidFill>
              <a:schemeClr val="accent2"/>
            </a:solidFill>
            <a:ln w="5023"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3F69A97-AC40-4BBF-93FE-8C1F8ABE2CE0}"/>
                </a:ext>
              </a:extLst>
            </p:cNvPr>
            <p:cNvSpPr/>
            <p:nvPr/>
          </p:nvSpPr>
          <p:spPr>
            <a:xfrm>
              <a:off x="879083" y="5832590"/>
              <a:ext cx="311228" cy="66117"/>
            </a:xfrm>
            <a:custGeom>
              <a:avLst/>
              <a:gdLst>
                <a:gd name="connsiteX0" fmla="*/ 0 w 311228"/>
                <a:gd name="connsiteY0" fmla="*/ 0 h 66117"/>
                <a:gd name="connsiteX1" fmla="*/ 311228 w 311228"/>
                <a:gd name="connsiteY1" fmla="*/ 0 h 66117"/>
                <a:gd name="connsiteX2" fmla="*/ 311228 w 311228"/>
                <a:gd name="connsiteY2" fmla="*/ 66118 h 66117"/>
                <a:gd name="connsiteX3" fmla="*/ 0 w 311228"/>
                <a:gd name="connsiteY3" fmla="*/ 66118 h 66117"/>
              </a:gdLst>
              <a:ahLst/>
              <a:cxnLst>
                <a:cxn ang="0">
                  <a:pos x="connsiteX0" y="connsiteY0"/>
                </a:cxn>
                <a:cxn ang="0">
                  <a:pos x="connsiteX1" y="connsiteY1"/>
                </a:cxn>
                <a:cxn ang="0">
                  <a:pos x="connsiteX2" y="connsiteY2"/>
                </a:cxn>
                <a:cxn ang="0">
                  <a:pos x="connsiteX3" y="connsiteY3"/>
                </a:cxn>
              </a:cxnLst>
              <a:rect l="l" t="t" r="r" b="b"/>
              <a:pathLst>
                <a:path w="311228" h="66117">
                  <a:moveTo>
                    <a:pt x="0" y="0"/>
                  </a:moveTo>
                  <a:lnTo>
                    <a:pt x="311228" y="0"/>
                  </a:lnTo>
                  <a:lnTo>
                    <a:pt x="311228" y="66118"/>
                  </a:lnTo>
                  <a:lnTo>
                    <a:pt x="0" y="66118"/>
                  </a:lnTo>
                  <a:close/>
                </a:path>
              </a:pathLst>
            </a:custGeom>
            <a:solidFill>
              <a:schemeClr val="bg2"/>
            </a:solidFill>
            <a:ln w="5023"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spTree>
    <p:extLst>
      <p:ext uri="{BB962C8B-B14F-4D97-AF65-F5344CB8AC3E}">
        <p14:creationId xmlns:p14="http://schemas.microsoft.com/office/powerpoint/2010/main" val="2187718279"/>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apittel 8">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B02C701-AB8C-46E4-A998-38E9C9D55D9D}"/>
              </a:ext>
            </a:extLst>
          </p:cNvPr>
          <p:cNvGrpSpPr/>
          <p:nvPr userDrawn="1"/>
        </p:nvGrpSpPr>
        <p:grpSpPr>
          <a:xfrm>
            <a:off x="8674695" y="3621818"/>
            <a:ext cx="3000841" cy="2814283"/>
            <a:chOff x="8674695" y="3621818"/>
            <a:chExt cx="3000841" cy="2814283"/>
          </a:xfrm>
        </p:grpSpPr>
        <p:sp>
          <p:nvSpPr>
            <p:cNvPr id="9" name="Freeform: Shape 8">
              <a:extLst>
                <a:ext uri="{FF2B5EF4-FFF2-40B4-BE49-F238E27FC236}">
                  <a16:creationId xmlns:a16="http://schemas.microsoft.com/office/drawing/2014/main" id="{450028C0-13C4-4CBB-B8A4-B90DD2829DF6}"/>
                </a:ext>
              </a:extLst>
            </p:cNvPr>
            <p:cNvSpPr/>
            <p:nvPr/>
          </p:nvSpPr>
          <p:spPr>
            <a:xfrm>
              <a:off x="9906961" y="3806827"/>
              <a:ext cx="899255" cy="899255"/>
            </a:xfrm>
            <a:custGeom>
              <a:avLst/>
              <a:gdLst>
                <a:gd name="connsiteX0" fmla="*/ 899256 w 899255"/>
                <a:gd name="connsiteY0" fmla="*/ 449628 h 899255"/>
                <a:gd name="connsiteX1" fmla="*/ 449628 w 899255"/>
                <a:gd name="connsiteY1" fmla="*/ 899255 h 899255"/>
                <a:gd name="connsiteX2" fmla="*/ 0 w 899255"/>
                <a:gd name="connsiteY2" fmla="*/ 449628 h 899255"/>
                <a:gd name="connsiteX3" fmla="*/ 449628 w 899255"/>
                <a:gd name="connsiteY3" fmla="*/ 0 h 899255"/>
                <a:gd name="connsiteX4" fmla="*/ 899256 w 899255"/>
                <a:gd name="connsiteY4" fmla="*/ 449628 h 899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255" h="899255">
                  <a:moveTo>
                    <a:pt x="899256" y="449628"/>
                  </a:moveTo>
                  <a:cubicBezTo>
                    <a:pt x="899256" y="697950"/>
                    <a:pt x="697950" y="899255"/>
                    <a:pt x="449628" y="899255"/>
                  </a:cubicBezTo>
                  <a:cubicBezTo>
                    <a:pt x="201305" y="899255"/>
                    <a:pt x="0" y="697950"/>
                    <a:pt x="0" y="449628"/>
                  </a:cubicBezTo>
                  <a:cubicBezTo>
                    <a:pt x="0" y="201305"/>
                    <a:pt x="201305" y="0"/>
                    <a:pt x="449628" y="0"/>
                  </a:cubicBezTo>
                  <a:cubicBezTo>
                    <a:pt x="697950" y="0"/>
                    <a:pt x="899256" y="201305"/>
                    <a:pt x="899256" y="449628"/>
                  </a:cubicBezTo>
                  <a:close/>
                </a:path>
              </a:pathLst>
            </a:custGeom>
            <a:solidFill>
              <a:schemeClr val="accent3"/>
            </a:solidFill>
            <a:ln w="772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C0E318B-B34A-4981-A556-01AF85251C86}"/>
                </a:ext>
              </a:extLst>
            </p:cNvPr>
            <p:cNvSpPr/>
            <p:nvPr/>
          </p:nvSpPr>
          <p:spPr>
            <a:xfrm>
              <a:off x="8674695" y="3621818"/>
              <a:ext cx="2477629" cy="2260487"/>
            </a:xfrm>
            <a:custGeom>
              <a:avLst/>
              <a:gdLst>
                <a:gd name="connsiteX0" fmla="*/ 0 w 2477629"/>
                <a:gd name="connsiteY0" fmla="*/ 2260488 h 2260487"/>
                <a:gd name="connsiteX1" fmla="*/ 302 w 2477629"/>
                <a:gd name="connsiteY1" fmla="*/ 2252418 h 2260487"/>
                <a:gd name="connsiteX2" fmla="*/ 193064 w 2477629"/>
                <a:gd name="connsiteY2" fmla="*/ 1666426 h 2260487"/>
                <a:gd name="connsiteX3" fmla="*/ 649516 w 2477629"/>
                <a:gd name="connsiteY3" fmla="*/ 1403850 h 2260487"/>
                <a:gd name="connsiteX4" fmla="*/ 2004752 w 2477629"/>
                <a:gd name="connsiteY4" fmla="*/ 292033 h 2260487"/>
                <a:gd name="connsiteX5" fmla="*/ 2469042 w 2477629"/>
                <a:gd name="connsiteY5" fmla="*/ 851 h 2260487"/>
                <a:gd name="connsiteX6" fmla="*/ 2477630 w 2477629"/>
                <a:gd name="connsiteY6" fmla="*/ 0 h 2260487"/>
                <a:gd name="connsiteX7" fmla="*/ 2453041 w 2477629"/>
                <a:gd name="connsiteY7" fmla="*/ 2246584 h 2260487"/>
                <a:gd name="connsiteX8" fmla="*/ 2445435 w 2477629"/>
                <a:gd name="connsiteY8" fmla="*/ 2246630 h 2260487"/>
                <a:gd name="connsiteX9" fmla="*/ 2461970 w 2477629"/>
                <a:gd name="connsiteY9" fmla="*/ 17154 h 2260487"/>
                <a:gd name="connsiteX10" fmla="*/ 2017642 w 2477629"/>
                <a:gd name="connsiteY10" fmla="*/ 300598 h 2260487"/>
                <a:gd name="connsiteX11" fmla="*/ 1284725 w 2477629"/>
                <a:gd name="connsiteY11" fmla="*/ 1087143 h 2260487"/>
                <a:gd name="connsiteX12" fmla="*/ 655474 w 2477629"/>
                <a:gd name="connsiteY12" fmla="*/ 1418141 h 2260487"/>
                <a:gd name="connsiteX13" fmla="*/ 16086 w 2477629"/>
                <a:gd name="connsiteY13" fmla="*/ 2244920 h 2260487"/>
                <a:gd name="connsiteX14" fmla="*/ 2437736 w 2477629"/>
                <a:gd name="connsiteY14" fmla="*/ 2231202 h 226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7629" h="2260487">
                  <a:moveTo>
                    <a:pt x="0" y="2260488"/>
                  </a:moveTo>
                  <a:lnTo>
                    <a:pt x="302" y="2252418"/>
                  </a:lnTo>
                  <a:cubicBezTo>
                    <a:pt x="10616" y="1977222"/>
                    <a:pt x="70070" y="1796507"/>
                    <a:pt x="193064" y="1666426"/>
                  </a:cubicBezTo>
                  <a:cubicBezTo>
                    <a:pt x="306030" y="1547007"/>
                    <a:pt x="465188" y="1480667"/>
                    <a:pt x="649516" y="1403850"/>
                  </a:cubicBezTo>
                  <a:cubicBezTo>
                    <a:pt x="1008918" y="1254085"/>
                    <a:pt x="1501132" y="1048982"/>
                    <a:pt x="2004752" y="292033"/>
                  </a:cubicBezTo>
                  <a:cubicBezTo>
                    <a:pt x="2120557" y="117755"/>
                    <a:pt x="2276768" y="19792"/>
                    <a:pt x="2469042" y="851"/>
                  </a:cubicBezTo>
                  <a:lnTo>
                    <a:pt x="2477630" y="0"/>
                  </a:lnTo>
                  <a:lnTo>
                    <a:pt x="2453041" y="2246584"/>
                  </a:lnTo>
                  <a:lnTo>
                    <a:pt x="2445435" y="2246630"/>
                  </a:lnTo>
                  <a:close/>
                  <a:moveTo>
                    <a:pt x="2461970" y="17154"/>
                  </a:moveTo>
                  <a:cubicBezTo>
                    <a:pt x="2278470" y="37666"/>
                    <a:pt x="2129014" y="132990"/>
                    <a:pt x="2017642" y="300598"/>
                  </a:cubicBezTo>
                  <a:cubicBezTo>
                    <a:pt x="1793118" y="638049"/>
                    <a:pt x="1553398" y="895333"/>
                    <a:pt x="1284725" y="1087143"/>
                  </a:cubicBezTo>
                  <a:cubicBezTo>
                    <a:pt x="1053377" y="1252336"/>
                    <a:pt x="841976" y="1340419"/>
                    <a:pt x="655474" y="1418141"/>
                  </a:cubicBezTo>
                  <a:cubicBezTo>
                    <a:pt x="285030" y="1572502"/>
                    <a:pt x="39716" y="1674767"/>
                    <a:pt x="16086" y="2244920"/>
                  </a:cubicBezTo>
                  <a:lnTo>
                    <a:pt x="2437736" y="2231202"/>
                  </a:lnTo>
                  <a:close/>
                </a:path>
              </a:pathLst>
            </a:custGeom>
            <a:solidFill>
              <a:schemeClr val="bg1"/>
            </a:solidFill>
            <a:ln w="7726"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3178EF47-34A0-4AFC-8C39-0CC0AD04EB87}"/>
                </a:ext>
              </a:extLst>
            </p:cNvPr>
            <p:cNvSpPr/>
            <p:nvPr/>
          </p:nvSpPr>
          <p:spPr>
            <a:xfrm>
              <a:off x="9342711" y="5315533"/>
              <a:ext cx="652332" cy="561433"/>
            </a:xfrm>
            <a:custGeom>
              <a:avLst/>
              <a:gdLst>
                <a:gd name="connsiteX0" fmla="*/ 652332 w 652332"/>
                <a:gd name="connsiteY0" fmla="*/ 561433 h 561433"/>
                <a:gd name="connsiteX1" fmla="*/ 0 w 652332"/>
                <a:gd name="connsiteY1" fmla="*/ 561433 h 561433"/>
                <a:gd name="connsiteX2" fmla="*/ 326162 w 652332"/>
                <a:gd name="connsiteY2" fmla="*/ 0 h 561433"/>
              </a:gdLst>
              <a:ahLst/>
              <a:cxnLst>
                <a:cxn ang="0">
                  <a:pos x="connsiteX0" y="connsiteY0"/>
                </a:cxn>
                <a:cxn ang="0">
                  <a:pos x="connsiteX1" y="connsiteY1"/>
                </a:cxn>
                <a:cxn ang="0">
                  <a:pos x="connsiteX2" y="connsiteY2"/>
                </a:cxn>
              </a:cxnLst>
              <a:rect l="l" t="t" r="r" b="b"/>
              <a:pathLst>
                <a:path w="652332" h="561433">
                  <a:moveTo>
                    <a:pt x="652332" y="561433"/>
                  </a:moveTo>
                  <a:lnTo>
                    <a:pt x="0" y="561433"/>
                  </a:lnTo>
                  <a:lnTo>
                    <a:pt x="326162" y="0"/>
                  </a:lnTo>
                  <a:close/>
                </a:path>
              </a:pathLst>
            </a:custGeom>
            <a:solidFill>
              <a:schemeClr val="accent2"/>
            </a:solidFill>
            <a:ln w="7726"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992D7AF-BCB2-4554-8ABF-DFA162E02038}"/>
                </a:ext>
              </a:extLst>
            </p:cNvPr>
            <p:cNvSpPr/>
            <p:nvPr/>
          </p:nvSpPr>
          <p:spPr>
            <a:xfrm>
              <a:off x="8881477" y="5318164"/>
              <a:ext cx="652332" cy="561432"/>
            </a:xfrm>
            <a:custGeom>
              <a:avLst/>
              <a:gdLst>
                <a:gd name="connsiteX0" fmla="*/ 652332 w 652332"/>
                <a:gd name="connsiteY0" fmla="*/ 561433 h 561432"/>
                <a:gd name="connsiteX1" fmla="*/ 0 w 652332"/>
                <a:gd name="connsiteY1" fmla="*/ 561433 h 561432"/>
                <a:gd name="connsiteX2" fmla="*/ 326170 w 652332"/>
                <a:gd name="connsiteY2" fmla="*/ 0 h 561432"/>
              </a:gdLst>
              <a:ahLst/>
              <a:cxnLst>
                <a:cxn ang="0">
                  <a:pos x="connsiteX0" y="connsiteY0"/>
                </a:cxn>
                <a:cxn ang="0">
                  <a:pos x="connsiteX1" y="connsiteY1"/>
                </a:cxn>
                <a:cxn ang="0">
                  <a:pos x="connsiteX2" y="connsiteY2"/>
                </a:cxn>
              </a:cxnLst>
              <a:rect l="l" t="t" r="r" b="b"/>
              <a:pathLst>
                <a:path w="652332" h="561432">
                  <a:moveTo>
                    <a:pt x="652332" y="561433"/>
                  </a:moveTo>
                  <a:lnTo>
                    <a:pt x="0" y="561433"/>
                  </a:lnTo>
                  <a:lnTo>
                    <a:pt x="326170" y="0"/>
                  </a:lnTo>
                  <a:close/>
                </a:path>
              </a:pathLst>
            </a:custGeom>
            <a:solidFill>
              <a:schemeClr val="accent2"/>
            </a:solidFill>
            <a:ln w="7726"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AEDC6C-AF72-4D98-A3DA-BF539F825F62}"/>
                </a:ext>
              </a:extLst>
            </p:cNvPr>
            <p:cNvSpPr/>
            <p:nvPr/>
          </p:nvSpPr>
          <p:spPr>
            <a:xfrm>
              <a:off x="10611064" y="5317839"/>
              <a:ext cx="1064472" cy="1118262"/>
            </a:xfrm>
            <a:custGeom>
              <a:avLst/>
              <a:gdLst>
                <a:gd name="connsiteX0" fmla="*/ 216098 w 1064472"/>
                <a:gd name="connsiteY0" fmla="*/ 1085487 h 1118262"/>
                <a:gd name="connsiteX1" fmla="*/ 1064472 w 1064472"/>
                <a:gd name="connsiteY1" fmla="*/ 573 h 1118262"/>
                <a:gd name="connsiteX2" fmla="*/ 1064472 w 1064472"/>
                <a:gd name="connsiteY2" fmla="*/ 0 h 1118262"/>
                <a:gd name="connsiteX3" fmla="*/ 0 w 1064472"/>
                <a:gd name="connsiteY3" fmla="*/ 0 h 1118262"/>
                <a:gd name="connsiteX4" fmla="*/ 0 w 1064472"/>
                <a:gd name="connsiteY4" fmla="*/ 1118263 h 1118262"/>
                <a:gd name="connsiteX5" fmla="*/ 0 w 1064472"/>
                <a:gd name="connsiteY5" fmla="*/ 1118263 h 1118262"/>
                <a:gd name="connsiteX6" fmla="*/ 216098 w 1064472"/>
                <a:gd name="connsiteY6" fmla="*/ 1085487 h 111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472" h="1118262">
                  <a:moveTo>
                    <a:pt x="216098" y="1085487"/>
                  </a:moveTo>
                  <a:cubicBezTo>
                    <a:pt x="714734" y="961975"/>
                    <a:pt x="1064820" y="514274"/>
                    <a:pt x="1064472" y="573"/>
                  </a:cubicBezTo>
                  <a:lnTo>
                    <a:pt x="1064472" y="0"/>
                  </a:lnTo>
                  <a:lnTo>
                    <a:pt x="0" y="0"/>
                  </a:lnTo>
                  <a:lnTo>
                    <a:pt x="0" y="1118263"/>
                  </a:lnTo>
                  <a:lnTo>
                    <a:pt x="0" y="1118263"/>
                  </a:lnTo>
                  <a:cubicBezTo>
                    <a:pt x="72917" y="1114301"/>
                    <a:pt x="145285" y="1103329"/>
                    <a:pt x="216098" y="1085487"/>
                  </a:cubicBezTo>
                  <a:close/>
                </a:path>
              </a:pathLst>
            </a:custGeom>
            <a:solidFill>
              <a:schemeClr val="accent1"/>
            </a:solidFill>
            <a:ln w="7726"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spTree>
    <p:extLst>
      <p:ext uri="{BB962C8B-B14F-4D97-AF65-F5344CB8AC3E}">
        <p14:creationId xmlns:p14="http://schemas.microsoft.com/office/powerpoint/2010/main" val="3404263110"/>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apittel 9">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9F651AA-429A-4F12-B89D-CE357A17B18E}"/>
              </a:ext>
            </a:extLst>
          </p:cNvPr>
          <p:cNvGrpSpPr/>
          <p:nvPr userDrawn="1"/>
        </p:nvGrpSpPr>
        <p:grpSpPr>
          <a:xfrm>
            <a:off x="412203" y="4285741"/>
            <a:ext cx="1753152" cy="2364400"/>
            <a:chOff x="412203" y="4285741"/>
            <a:chExt cx="1753152" cy="2364400"/>
          </a:xfrm>
        </p:grpSpPr>
        <p:sp>
          <p:nvSpPr>
            <p:cNvPr id="13" name="Freeform: Shape 12">
              <a:extLst>
                <a:ext uri="{FF2B5EF4-FFF2-40B4-BE49-F238E27FC236}">
                  <a16:creationId xmlns:a16="http://schemas.microsoft.com/office/drawing/2014/main" id="{EF96917D-396F-42BB-A076-A0C1BB57AA43}"/>
                </a:ext>
              </a:extLst>
            </p:cNvPr>
            <p:cNvSpPr/>
            <p:nvPr/>
          </p:nvSpPr>
          <p:spPr>
            <a:xfrm>
              <a:off x="412203" y="5308326"/>
              <a:ext cx="1354331" cy="1341815"/>
            </a:xfrm>
            <a:custGeom>
              <a:avLst/>
              <a:gdLst>
                <a:gd name="connsiteX0" fmla="*/ 1354331 w 1354331"/>
                <a:gd name="connsiteY0" fmla="*/ 0 h 1341815"/>
                <a:gd name="connsiteX1" fmla="*/ 953900 w 1354331"/>
                <a:gd name="connsiteY1" fmla="*/ 507682 h 1341815"/>
                <a:gd name="connsiteX2" fmla="*/ 150495 w 1354331"/>
                <a:gd name="connsiteY2" fmla="*/ 1200540 h 1341815"/>
                <a:gd name="connsiteX3" fmla="*/ 0 w 1354331"/>
                <a:gd name="connsiteY3" fmla="*/ 1341815 h 1341815"/>
                <a:gd name="connsiteX4" fmla="*/ 0 w 1354331"/>
                <a:gd name="connsiteY4" fmla="*/ 0 h 1341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331" h="1341815">
                  <a:moveTo>
                    <a:pt x="1354331" y="0"/>
                  </a:moveTo>
                  <a:cubicBezTo>
                    <a:pt x="1333814" y="260899"/>
                    <a:pt x="1236031" y="384620"/>
                    <a:pt x="953900" y="507682"/>
                  </a:cubicBezTo>
                  <a:cubicBezTo>
                    <a:pt x="607676" y="660387"/>
                    <a:pt x="374847" y="861060"/>
                    <a:pt x="150495" y="1200540"/>
                  </a:cubicBezTo>
                  <a:cubicBezTo>
                    <a:pt x="112012" y="1258706"/>
                    <a:pt x="60479" y="1307082"/>
                    <a:pt x="0" y="1341815"/>
                  </a:cubicBezTo>
                  <a:lnTo>
                    <a:pt x="0" y="0"/>
                  </a:lnTo>
                  <a:close/>
                </a:path>
              </a:pathLst>
            </a:custGeom>
            <a:solidFill>
              <a:schemeClr val="accent4"/>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E5237B8-9BFC-4F4F-B6EA-E88F8D5723C7}"/>
                </a:ext>
              </a:extLst>
            </p:cNvPr>
            <p:cNvSpPr/>
            <p:nvPr/>
          </p:nvSpPr>
          <p:spPr>
            <a:xfrm>
              <a:off x="412241" y="4712652"/>
              <a:ext cx="775639" cy="595895"/>
            </a:xfrm>
            <a:custGeom>
              <a:avLst/>
              <a:gdLst>
                <a:gd name="connsiteX0" fmla="*/ 0 w 775639"/>
                <a:gd name="connsiteY0" fmla="*/ 198720 h 595895"/>
                <a:gd name="connsiteX1" fmla="*/ 590369 w 775639"/>
                <a:gd name="connsiteY1" fmla="*/ 0 h 595895"/>
                <a:gd name="connsiteX2" fmla="*/ 775640 w 775639"/>
                <a:gd name="connsiteY2" fmla="*/ 550545 h 595895"/>
                <a:gd name="connsiteX3" fmla="*/ 739216 w 775639"/>
                <a:gd name="connsiteY3" fmla="*/ 564442 h 595895"/>
                <a:gd name="connsiteX4" fmla="*/ 412061 w 775639"/>
                <a:gd name="connsiteY4" fmla="*/ 579682 h 595895"/>
                <a:gd name="connsiteX5" fmla="*/ 138694 w 775639"/>
                <a:gd name="connsiteY5" fmla="*/ 424605 h 595895"/>
                <a:gd name="connsiteX6" fmla="*/ 0 w 775639"/>
                <a:gd name="connsiteY6" fmla="*/ 198720 h 59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5639" h="595895">
                  <a:moveTo>
                    <a:pt x="0" y="198720"/>
                  </a:moveTo>
                  <a:lnTo>
                    <a:pt x="590369" y="0"/>
                  </a:lnTo>
                  <a:lnTo>
                    <a:pt x="775640" y="550545"/>
                  </a:lnTo>
                  <a:cubicBezTo>
                    <a:pt x="763657" y="555669"/>
                    <a:pt x="751380" y="560356"/>
                    <a:pt x="739216" y="564442"/>
                  </a:cubicBezTo>
                  <a:cubicBezTo>
                    <a:pt x="633798" y="600347"/>
                    <a:pt x="520361" y="605632"/>
                    <a:pt x="412061" y="579682"/>
                  </a:cubicBezTo>
                  <a:cubicBezTo>
                    <a:pt x="308202" y="554640"/>
                    <a:pt x="213476" y="500903"/>
                    <a:pt x="138694" y="424605"/>
                  </a:cubicBezTo>
                  <a:cubicBezTo>
                    <a:pt x="76067" y="360696"/>
                    <a:pt x="28659" y="283486"/>
                    <a:pt x="0" y="198720"/>
                  </a:cubicBezTo>
                  <a:close/>
                </a:path>
              </a:pathLst>
            </a:custGeom>
            <a:solidFill>
              <a:schemeClr val="bg2"/>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BA7FD02-D910-4845-B318-060155DFC1AE}"/>
                </a:ext>
              </a:extLst>
            </p:cNvPr>
            <p:cNvSpPr/>
            <p:nvPr/>
          </p:nvSpPr>
          <p:spPr>
            <a:xfrm>
              <a:off x="1405613" y="4650615"/>
              <a:ext cx="759742" cy="657958"/>
            </a:xfrm>
            <a:custGeom>
              <a:avLst/>
              <a:gdLst>
                <a:gd name="connsiteX0" fmla="*/ 379866 w 759742"/>
                <a:gd name="connsiteY0" fmla="*/ 0 h 657958"/>
                <a:gd name="connsiteX1" fmla="*/ 569804 w 759742"/>
                <a:gd name="connsiteY1" fmla="*/ 328984 h 657958"/>
                <a:gd name="connsiteX2" fmla="*/ 759743 w 759742"/>
                <a:gd name="connsiteY2" fmla="*/ 657958 h 657958"/>
                <a:gd name="connsiteX3" fmla="*/ 379866 w 759742"/>
                <a:gd name="connsiteY3" fmla="*/ 657958 h 657958"/>
                <a:gd name="connsiteX4" fmla="*/ 0 w 759742"/>
                <a:gd name="connsiteY4" fmla="*/ 657958 h 657958"/>
                <a:gd name="connsiteX5" fmla="*/ 189938 w 759742"/>
                <a:gd name="connsiteY5" fmla="*/ 328984 h 657958"/>
                <a:gd name="connsiteX6" fmla="*/ 379866 w 759742"/>
                <a:gd name="connsiteY6" fmla="*/ 0 h 65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742" h="657958">
                  <a:moveTo>
                    <a:pt x="379866" y="0"/>
                  </a:moveTo>
                  <a:lnTo>
                    <a:pt x="569804" y="328984"/>
                  </a:lnTo>
                  <a:lnTo>
                    <a:pt x="759743" y="657958"/>
                  </a:lnTo>
                  <a:lnTo>
                    <a:pt x="379866" y="657958"/>
                  </a:lnTo>
                  <a:lnTo>
                    <a:pt x="0" y="657958"/>
                  </a:lnTo>
                  <a:lnTo>
                    <a:pt x="189938" y="328984"/>
                  </a:lnTo>
                  <a:lnTo>
                    <a:pt x="379866" y="0"/>
                  </a:lnTo>
                  <a:close/>
                </a:path>
              </a:pathLst>
            </a:custGeom>
            <a:solidFill>
              <a:schemeClr val="accent3"/>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24FE62B-91F7-46F3-BFDE-77ADB1D34C26}"/>
                </a:ext>
              </a:extLst>
            </p:cNvPr>
            <p:cNvSpPr/>
            <p:nvPr/>
          </p:nvSpPr>
          <p:spPr>
            <a:xfrm>
              <a:off x="1612553" y="4285741"/>
              <a:ext cx="355568" cy="355568"/>
            </a:xfrm>
            <a:custGeom>
              <a:avLst/>
              <a:gdLst>
                <a:gd name="connsiteX0" fmla="*/ 355568 w 355568"/>
                <a:gd name="connsiteY0" fmla="*/ 177784 h 355568"/>
                <a:gd name="connsiteX1" fmla="*/ 177784 w 355568"/>
                <a:gd name="connsiteY1" fmla="*/ 355568 h 355568"/>
                <a:gd name="connsiteX2" fmla="*/ 0 w 355568"/>
                <a:gd name="connsiteY2" fmla="*/ 177784 h 355568"/>
                <a:gd name="connsiteX3" fmla="*/ 177784 w 355568"/>
                <a:gd name="connsiteY3" fmla="*/ 0 h 355568"/>
                <a:gd name="connsiteX4" fmla="*/ 355568 w 355568"/>
                <a:gd name="connsiteY4" fmla="*/ 177784 h 355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68" h="355568">
                  <a:moveTo>
                    <a:pt x="355568" y="177784"/>
                  </a:moveTo>
                  <a:cubicBezTo>
                    <a:pt x="355568" y="275972"/>
                    <a:pt x="275972" y="355568"/>
                    <a:pt x="177784" y="355568"/>
                  </a:cubicBezTo>
                  <a:cubicBezTo>
                    <a:pt x="79597" y="355568"/>
                    <a:pt x="0" y="275972"/>
                    <a:pt x="0" y="177784"/>
                  </a:cubicBezTo>
                  <a:cubicBezTo>
                    <a:pt x="0" y="79597"/>
                    <a:pt x="79597" y="0"/>
                    <a:pt x="177784" y="0"/>
                  </a:cubicBezTo>
                  <a:cubicBezTo>
                    <a:pt x="275972" y="0"/>
                    <a:pt x="355568" y="79597"/>
                    <a:pt x="355568" y="177784"/>
                  </a:cubicBezTo>
                  <a:close/>
                </a:path>
              </a:pathLst>
            </a:custGeom>
            <a:solidFill>
              <a:schemeClr val="accent1"/>
            </a:solidFill>
            <a:ln w="952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spTree>
    <p:extLst>
      <p:ext uri="{BB962C8B-B14F-4D97-AF65-F5344CB8AC3E}">
        <p14:creationId xmlns:p14="http://schemas.microsoft.com/office/powerpoint/2010/main" val="2201588561"/>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apittel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grpSp>
        <p:nvGrpSpPr>
          <p:cNvPr id="3" name="Group 2">
            <a:extLst>
              <a:ext uri="{FF2B5EF4-FFF2-40B4-BE49-F238E27FC236}">
                <a16:creationId xmlns:a16="http://schemas.microsoft.com/office/drawing/2014/main" id="{6B8D068B-9FA9-49D8-9E2D-2469802DD124}"/>
              </a:ext>
            </a:extLst>
          </p:cNvPr>
          <p:cNvGrpSpPr/>
          <p:nvPr userDrawn="1"/>
        </p:nvGrpSpPr>
        <p:grpSpPr>
          <a:xfrm>
            <a:off x="333594" y="4067880"/>
            <a:ext cx="1686342" cy="2363341"/>
            <a:chOff x="333594" y="4067880"/>
            <a:chExt cx="1686342" cy="2363341"/>
          </a:xfrm>
        </p:grpSpPr>
        <p:sp>
          <p:nvSpPr>
            <p:cNvPr id="8" name="Freeform: Shape 7">
              <a:extLst>
                <a:ext uri="{FF2B5EF4-FFF2-40B4-BE49-F238E27FC236}">
                  <a16:creationId xmlns:a16="http://schemas.microsoft.com/office/drawing/2014/main" id="{52122F4C-8422-44D9-83DE-DD553A6E4792}"/>
                </a:ext>
              </a:extLst>
            </p:cNvPr>
            <p:cNvSpPr/>
            <p:nvPr/>
          </p:nvSpPr>
          <p:spPr>
            <a:xfrm>
              <a:off x="333594" y="4909526"/>
              <a:ext cx="1669258" cy="1521695"/>
            </a:xfrm>
            <a:custGeom>
              <a:avLst/>
              <a:gdLst>
                <a:gd name="connsiteX0" fmla="*/ 16629 w 1669258"/>
                <a:gd name="connsiteY0" fmla="*/ 9368 h 1521695"/>
                <a:gd name="connsiteX1" fmla="*/ 0 w 1669258"/>
                <a:gd name="connsiteY1" fmla="*/ 1521695 h 1521695"/>
                <a:gd name="connsiteX2" fmla="*/ 310957 w 1669258"/>
                <a:gd name="connsiteY2" fmla="*/ 1326585 h 1521695"/>
                <a:gd name="connsiteX3" fmla="*/ 1669258 w 1669258"/>
                <a:gd name="connsiteY3" fmla="*/ 0 h 1521695"/>
              </a:gdLst>
              <a:ahLst/>
              <a:cxnLst>
                <a:cxn ang="0">
                  <a:pos x="connsiteX0" y="connsiteY0"/>
                </a:cxn>
                <a:cxn ang="0">
                  <a:pos x="connsiteX1" y="connsiteY1"/>
                </a:cxn>
                <a:cxn ang="0">
                  <a:pos x="connsiteX2" y="connsiteY2"/>
                </a:cxn>
                <a:cxn ang="0">
                  <a:pos x="connsiteX3" y="connsiteY3"/>
                </a:cxn>
              </a:cxnLst>
              <a:rect l="l" t="t" r="r" b="b"/>
              <a:pathLst>
                <a:path w="1669258" h="1521695">
                  <a:moveTo>
                    <a:pt x="16629" y="9368"/>
                  </a:moveTo>
                  <a:lnTo>
                    <a:pt x="0" y="1521695"/>
                  </a:lnTo>
                  <a:cubicBezTo>
                    <a:pt x="121645" y="1509723"/>
                    <a:pt x="229643" y="1448906"/>
                    <a:pt x="310957" y="1326585"/>
                  </a:cubicBezTo>
                  <a:cubicBezTo>
                    <a:pt x="1000761" y="289772"/>
                    <a:pt x="1639881" y="783867"/>
                    <a:pt x="1669258" y="0"/>
                  </a:cubicBezTo>
                  <a:close/>
                </a:path>
              </a:pathLst>
            </a:custGeom>
            <a:solidFill>
              <a:schemeClr val="bg1"/>
            </a:solidFill>
            <a:ln w="1107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CEB4D01-AD3A-4CAE-A850-FCD169B1428B}"/>
                </a:ext>
              </a:extLst>
            </p:cNvPr>
            <p:cNvSpPr/>
            <p:nvPr/>
          </p:nvSpPr>
          <p:spPr>
            <a:xfrm>
              <a:off x="1442653" y="4067880"/>
              <a:ext cx="577283" cy="577282"/>
            </a:xfrm>
            <a:custGeom>
              <a:avLst/>
              <a:gdLst>
                <a:gd name="connsiteX0" fmla="*/ 577283 w 577283"/>
                <a:gd name="connsiteY0" fmla="*/ 288641 h 577282"/>
                <a:gd name="connsiteX1" fmla="*/ 288642 w 577283"/>
                <a:gd name="connsiteY1" fmla="*/ 577283 h 577282"/>
                <a:gd name="connsiteX2" fmla="*/ 0 w 577283"/>
                <a:gd name="connsiteY2" fmla="*/ 288641 h 577282"/>
                <a:gd name="connsiteX3" fmla="*/ 288642 w 577283"/>
                <a:gd name="connsiteY3" fmla="*/ 0 h 577282"/>
                <a:gd name="connsiteX4" fmla="*/ 577283 w 577283"/>
                <a:gd name="connsiteY4" fmla="*/ 288641 h 57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83" h="577282">
                  <a:moveTo>
                    <a:pt x="577283" y="288641"/>
                  </a:moveTo>
                  <a:cubicBezTo>
                    <a:pt x="577283" y="448054"/>
                    <a:pt x="448054" y="577283"/>
                    <a:pt x="288642" y="577283"/>
                  </a:cubicBezTo>
                  <a:cubicBezTo>
                    <a:pt x="129229" y="577283"/>
                    <a:pt x="0" y="448054"/>
                    <a:pt x="0" y="288641"/>
                  </a:cubicBezTo>
                  <a:cubicBezTo>
                    <a:pt x="0" y="129229"/>
                    <a:pt x="129230" y="0"/>
                    <a:pt x="288642" y="0"/>
                  </a:cubicBezTo>
                  <a:cubicBezTo>
                    <a:pt x="448054" y="0"/>
                    <a:pt x="577283" y="129229"/>
                    <a:pt x="577283" y="288641"/>
                  </a:cubicBezTo>
                  <a:close/>
                </a:path>
              </a:pathLst>
            </a:custGeom>
            <a:solidFill>
              <a:schemeClr val="accent3"/>
            </a:solidFill>
            <a:ln w="1107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F50496EA-417C-43FB-9C8D-2A18916FA270}"/>
                </a:ext>
              </a:extLst>
            </p:cNvPr>
            <p:cNvSpPr/>
            <p:nvPr/>
          </p:nvSpPr>
          <p:spPr>
            <a:xfrm>
              <a:off x="814260" y="4254365"/>
              <a:ext cx="861161" cy="652138"/>
            </a:xfrm>
            <a:custGeom>
              <a:avLst/>
              <a:gdLst>
                <a:gd name="connsiteX0" fmla="*/ 45910 w 861161"/>
                <a:gd name="connsiteY0" fmla="*/ 0 h 652138"/>
                <a:gd name="connsiteX1" fmla="*/ 861162 w 861161"/>
                <a:gd name="connsiteY1" fmla="*/ 397205 h 652138"/>
                <a:gd name="connsiteX2" fmla="*/ 254933 w 861161"/>
                <a:gd name="connsiteY2" fmla="*/ 606228 h 652138"/>
                <a:gd name="connsiteX3" fmla="*/ 45910 w 861161"/>
                <a:gd name="connsiteY3" fmla="*/ 0 h 652138"/>
              </a:gdLst>
              <a:ahLst/>
              <a:cxnLst>
                <a:cxn ang="0">
                  <a:pos x="connsiteX0" y="connsiteY0"/>
                </a:cxn>
                <a:cxn ang="0">
                  <a:pos x="connsiteX1" y="connsiteY1"/>
                </a:cxn>
                <a:cxn ang="0">
                  <a:pos x="connsiteX2" y="connsiteY2"/>
                </a:cxn>
                <a:cxn ang="0">
                  <a:pos x="connsiteX3" y="connsiteY3"/>
                </a:cxn>
              </a:cxnLst>
              <a:rect l="l" t="t" r="r" b="b"/>
              <a:pathLst>
                <a:path w="861161" h="652138">
                  <a:moveTo>
                    <a:pt x="45910" y="0"/>
                  </a:moveTo>
                  <a:lnTo>
                    <a:pt x="861162" y="397205"/>
                  </a:lnTo>
                  <a:cubicBezTo>
                    <a:pt x="751476" y="622330"/>
                    <a:pt x="480059" y="715913"/>
                    <a:pt x="254933" y="606228"/>
                  </a:cubicBezTo>
                  <a:cubicBezTo>
                    <a:pt x="29808" y="496543"/>
                    <a:pt x="-63775" y="225125"/>
                    <a:pt x="45910" y="0"/>
                  </a:cubicBezTo>
                  <a:close/>
                </a:path>
              </a:pathLst>
            </a:custGeom>
            <a:solidFill>
              <a:schemeClr val="accent1"/>
            </a:solidFill>
            <a:ln w="11075" cap="flat">
              <a:noFill/>
              <a:prstDash val="solid"/>
              <a:miter/>
            </a:ln>
          </p:spPr>
          <p:txBody>
            <a:bodyPr rtlCol="0" anchor="ctr"/>
            <a:lstStyle/>
            <a:p>
              <a:endParaRPr lang="en-US"/>
            </a:p>
          </p:txBody>
        </p:sp>
      </p:grpSp>
    </p:spTree>
    <p:extLst>
      <p:ext uri="{BB962C8B-B14F-4D97-AF65-F5344CB8AC3E}">
        <p14:creationId xmlns:p14="http://schemas.microsoft.com/office/powerpoint/2010/main" val="1665714046"/>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Kapittel 1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F945394-4FD3-4BC5-A401-C559143233F4}"/>
              </a:ext>
            </a:extLst>
          </p:cNvPr>
          <p:cNvGrpSpPr/>
          <p:nvPr userDrawn="1"/>
        </p:nvGrpSpPr>
        <p:grpSpPr>
          <a:xfrm>
            <a:off x="750096" y="4386472"/>
            <a:ext cx="1396502" cy="1988277"/>
            <a:chOff x="750096" y="4386472"/>
            <a:chExt cx="1396502" cy="1988277"/>
          </a:xfrm>
        </p:grpSpPr>
        <p:sp>
          <p:nvSpPr>
            <p:cNvPr id="8" name="Freeform: Shape 7">
              <a:extLst>
                <a:ext uri="{FF2B5EF4-FFF2-40B4-BE49-F238E27FC236}">
                  <a16:creationId xmlns:a16="http://schemas.microsoft.com/office/drawing/2014/main" id="{8CA057C7-0C39-4B91-A1FD-6007F42348A2}"/>
                </a:ext>
              </a:extLst>
            </p:cNvPr>
            <p:cNvSpPr/>
            <p:nvPr/>
          </p:nvSpPr>
          <p:spPr>
            <a:xfrm>
              <a:off x="1050511" y="4386472"/>
              <a:ext cx="884111" cy="1988277"/>
            </a:xfrm>
            <a:custGeom>
              <a:avLst/>
              <a:gdLst>
                <a:gd name="connsiteX0" fmla="*/ 0 w 884111"/>
                <a:gd name="connsiteY0" fmla="*/ 0 h 1988277"/>
                <a:gd name="connsiteX1" fmla="*/ 884111 w 884111"/>
                <a:gd name="connsiteY1" fmla="*/ 0 h 1988277"/>
                <a:gd name="connsiteX2" fmla="*/ 884111 w 884111"/>
                <a:gd name="connsiteY2" fmla="*/ 1988277 h 1988277"/>
                <a:gd name="connsiteX3" fmla="*/ 0 w 884111"/>
                <a:gd name="connsiteY3" fmla="*/ 1988277 h 1988277"/>
              </a:gdLst>
              <a:ahLst/>
              <a:cxnLst>
                <a:cxn ang="0">
                  <a:pos x="connsiteX0" y="connsiteY0"/>
                </a:cxn>
                <a:cxn ang="0">
                  <a:pos x="connsiteX1" y="connsiteY1"/>
                </a:cxn>
                <a:cxn ang="0">
                  <a:pos x="connsiteX2" y="connsiteY2"/>
                </a:cxn>
                <a:cxn ang="0">
                  <a:pos x="connsiteX3" y="connsiteY3"/>
                </a:cxn>
              </a:cxnLst>
              <a:rect l="l" t="t" r="r" b="b"/>
              <a:pathLst>
                <a:path w="884111" h="1988277">
                  <a:moveTo>
                    <a:pt x="0" y="0"/>
                  </a:moveTo>
                  <a:lnTo>
                    <a:pt x="884111" y="0"/>
                  </a:lnTo>
                  <a:lnTo>
                    <a:pt x="884111" y="1988277"/>
                  </a:lnTo>
                  <a:lnTo>
                    <a:pt x="0" y="1988277"/>
                  </a:lnTo>
                  <a:close/>
                </a:path>
              </a:pathLst>
            </a:custGeom>
            <a:solidFill>
              <a:schemeClr val="accent3"/>
            </a:solidFill>
            <a:ln w="633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EDB12E7A-54C1-4EC0-BB5E-BE2DED74C4A1}"/>
                </a:ext>
              </a:extLst>
            </p:cNvPr>
            <p:cNvSpPr/>
            <p:nvPr/>
          </p:nvSpPr>
          <p:spPr>
            <a:xfrm>
              <a:off x="750096" y="4636442"/>
              <a:ext cx="884111" cy="140652"/>
            </a:xfrm>
            <a:custGeom>
              <a:avLst/>
              <a:gdLst>
                <a:gd name="connsiteX0" fmla="*/ 0 w 884111"/>
                <a:gd name="connsiteY0" fmla="*/ 0 h 140652"/>
                <a:gd name="connsiteX1" fmla="*/ 884111 w 884111"/>
                <a:gd name="connsiteY1" fmla="*/ 0 h 140652"/>
                <a:gd name="connsiteX2" fmla="*/ 884111 w 884111"/>
                <a:gd name="connsiteY2" fmla="*/ 140652 h 140652"/>
                <a:gd name="connsiteX3" fmla="*/ 0 w 884111"/>
                <a:gd name="connsiteY3" fmla="*/ 140652 h 140652"/>
              </a:gdLst>
              <a:ahLst/>
              <a:cxnLst>
                <a:cxn ang="0">
                  <a:pos x="connsiteX0" y="connsiteY0"/>
                </a:cxn>
                <a:cxn ang="0">
                  <a:pos x="connsiteX1" y="connsiteY1"/>
                </a:cxn>
                <a:cxn ang="0">
                  <a:pos x="connsiteX2" y="connsiteY2"/>
                </a:cxn>
                <a:cxn ang="0">
                  <a:pos x="connsiteX3" y="connsiteY3"/>
                </a:cxn>
              </a:cxnLst>
              <a:rect l="l" t="t" r="r" b="b"/>
              <a:pathLst>
                <a:path w="884111" h="140652">
                  <a:moveTo>
                    <a:pt x="0" y="0"/>
                  </a:moveTo>
                  <a:lnTo>
                    <a:pt x="884111" y="0"/>
                  </a:lnTo>
                  <a:lnTo>
                    <a:pt x="884111" y="140652"/>
                  </a:lnTo>
                  <a:lnTo>
                    <a:pt x="0" y="140652"/>
                  </a:lnTo>
                  <a:close/>
                </a:path>
              </a:pathLst>
            </a:custGeom>
            <a:solidFill>
              <a:schemeClr val="bg1"/>
            </a:solidFill>
            <a:ln w="633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1E69B03B-43F4-4F9B-9AB5-BA93510B9F19}"/>
                </a:ext>
              </a:extLst>
            </p:cNvPr>
            <p:cNvSpPr/>
            <p:nvPr/>
          </p:nvSpPr>
          <p:spPr>
            <a:xfrm>
              <a:off x="750096" y="4889903"/>
              <a:ext cx="884111" cy="140652"/>
            </a:xfrm>
            <a:custGeom>
              <a:avLst/>
              <a:gdLst>
                <a:gd name="connsiteX0" fmla="*/ 0 w 884111"/>
                <a:gd name="connsiteY0" fmla="*/ 0 h 140652"/>
                <a:gd name="connsiteX1" fmla="*/ 884111 w 884111"/>
                <a:gd name="connsiteY1" fmla="*/ 0 h 140652"/>
                <a:gd name="connsiteX2" fmla="*/ 884111 w 884111"/>
                <a:gd name="connsiteY2" fmla="*/ 140652 h 140652"/>
                <a:gd name="connsiteX3" fmla="*/ 0 w 884111"/>
                <a:gd name="connsiteY3" fmla="*/ 140652 h 140652"/>
              </a:gdLst>
              <a:ahLst/>
              <a:cxnLst>
                <a:cxn ang="0">
                  <a:pos x="connsiteX0" y="connsiteY0"/>
                </a:cxn>
                <a:cxn ang="0">
                  <a:pos x="connsiteX1" y="connsiteY1"/>
                </a:cxn>
                <a:cxn ang="0">
                  <a:pos x="connsiteX2" y="connsiteY2"/>
                </a:cxn>
                <a:cxn ang="0">
                  <a:pos x="connsiteX3" y="connsiteY3"/>
                </a:cxn>
              </a:cxnLst>
              <a:rect l="l" t="t" r="r" b="b"/>
              <a:pathLst>
                <a:path w="884111" h="140652">
                  <a:moveTo>
                    <a:pt x="0" y="0"/>
                  </a:moveTo>
                  <a:lnTo>
                    <a:pt x="884111" y="0"/>
                  </a:lnTo>
                  <a:lnTo>
                    <a:pt x="884111" y="140652"/>
                  </a:lnTo>
                  <a:lnTo>
                    <a:pt x="0" y="140652"/>
                  </a:lnTo>
                  <a:close/>
                </a:path>
              </a:pathLst>
            </a:custGeom>
            <a:solidFill>
              <a:schemeClr val="bg1"/>
            </a:solidFill>
            <a:ln w="633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15C5F190-35A1-4A4A-828B-1E00396A0EEE}"/>
                </a:ext>
              </a:extLst>
            </p:cNvPr>
            <p:cNvSpPr/>
            <p:nvPr/>
          </p:nvSpPr>
          <p:spPr>
            <a:xfrm>
              <a:off x="803792" y="5686368"/>
              <a:ext cx="619713" cy="589931"/>
            </a:xfrm>
            <a:custGeom>
              <a:avLst/>
              <a:gdLst>
                <a:gd name="connsiteX0" fmla="*/ 0 w 619713"/>
                <a:gd name="connsiteY0" fmla="*/ 0 h 589931"/>
                <a:gd name="connsiteX1" fmla="*/ 619713 w 619713"/>
                <a:gd name="connsiteY1" fmla="*/ 0 h 589931"/>
                <a:gd name="connsiteX2" fmla="*/ 619713 w 619713"/>
                <a:gd name="connsiteY2" fmla="*/ 589931 h 589931"/>
                <a:gd name="connsiteX3" fmla="*/ 619396 w 619713"/>
                <a:gd name="connsiteY3" fmla="*/ 589931 h 589931"/>
                <a:gd name="connsiteX4" fmla="*/ 18142 w 619713"/>
                <a:gd name="connsiteY4" fmla="*/ 119760 h 589931"/>
                <a:gd name="connsiteX5" fmla="*/ 0 w 619713"/>
                <a:gd name="connsiteY5" fmla="*/ 0 h 58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713" h="589931">
                  <a:moveTo>
                    <a:pt x="0" y="0"/>
                  </a:moveTo>
                  <a:lnTo>
                    <a:pt x="619713" y="0"/>
                  </a:lnTo>
                  <a:lnTo>
                    <a:pt x="619713" y="589931"/>
                  </a:lnTo>
                  <a:lnTo>
                    <a:pt x="619396" y="589931"/>
                  </a:lnTo>
                  <a:cubicBezTo>
                    <a:pt x="335136" y="588869"/>
                    <a:pt x="87703" y="395380"/>
                    <a:pt x="18142" y="119760"/>
                  </a:cubicBezTo>
                  <a:cubicBezTo>
                    <a:pt x="8262" y="80516"/>
                    <a:pt x="2186" y="40410"/>
                    <a:pt x="0" y="0"/>
                  </a:cubicBezTo>
                  <a:close/>
                </a:path>
              </a:pathLst>
            </a:custGeom>
            <a:solidFill>
              <a:schemeClr val="bg2"/>
            </a:solidFill>
            <a:ln w="633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B6D7761-0AD4-4E15-8606-8DED94365480}"/>
                </a:ext>
              </a:extLst>
            </p:cNvPr>
            <p:cNvSpPr/>
            <p:nvPr/>
          </p:nvSpPr>
          <p:spPr>
            <a:xfrm>
              <a:off x="1526885" y="5686368"/>
              <a:ext cx="619713" cy="589931"/>
            </a:xfrm>
            <a:custGeom>
              <a:avLst/>
              <a:gdLst>
                <a:gd name="connsiteX0" fmla="*/ 0 w 619713"/>
                <a:gd name="connsiteY0" fmla="*/ 0 h 589931"/>
                <a:gd name="connsiteX1" fmla="*/ 619713 w 619713"/>
                <a:gd name="connsiteY1" fmla="*/ 0 h 589931"/>
                <a:gd name="connsiteX2" fmla="*/ 619713 w 619713"/>
                <a:gd name="connsiteY2" fmla="*/ 589931 h 589931"/>
                <a:gd name="connsiteX3" fmla="*/ 619396 w 619713"/>
                <a:gd name="connsiteY3" fmla="*/ 589931 h 589931"/>
                <a:gd name="connsiteX4" fmla="*/ 18142 w 619713"/>
                <a:gd name="connsiteY4" fmla="*/ 119760 h 589931"/>
                <a:gd name="connsiteX5" fmla="*/ 0 w 619713"/>
                <a:gd name="connsiteY5" fmla="*/ 0 h 58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713" h="589931">
                  <a:moveTo>
                    <a:pt x="0" y="0"/>
                  </a:moveTo>
                  <a:lnTo>
                    <a:pt x="619713" y="0"/>
                  </a:lnTo>
                  <a:lnTo>
                    <a:pt x="619713" y="589931"/>
                  </a:lnTo>
                  <a:lnTo>
                    <a:pt x="619396" y="589931"/>
                  </a:lnTo>
                  <a:cubicBezTo>
                    <a:pt x="335136" y="588869"/>
                    <a:pt x="87703" y="395380"/>
                    <a:pt x="18142" y="119760"/>
                  </a:cubicBezTo>
                  <a:cubicBezTo>
                    <a:pt x="8262" y="80516"/>
                    <a:pt x="2186" y="40410"/>
                    <a:pt x="0" y="0"/>
                  </a:cubicBezTo>
                  <a:close/>
                </a:path>
              </a:pathLst>
            </a:custGeom>
            <a:solidFill>
              <a:schemeClr val="bg1"/>
            </a:solidFill>
            <a:ln w="633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spTree>
    <p:extLst>
      <p:ext uri="{BB962C8B-B14F-4D97-AF65-F5344CB8AC3E}">
        <p14:creationId xmlns:p14="http://schemas.microsoft.com/office/powerpoint/2010/main" val="4051460968"/>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Kapittel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BF31E-111B-4BC8-A194-6BA100DF74F4}"/>
              </a:ext>
            </a:extLst>
          </p:cNvPr>
          <p:cNvSpPr>
            <a:spLocks noGrp="1"/>
          </p:cNvSpPr>
          <p:nvPr>
            <p:ph type="title"/>
          </p:nvPr>
        </p:nvSpPr>
        <p:spPr>
          <a:xfrm>
            <a:off x="4295776" y="2676524"/>
            <a:ext cx="3600450" cy="1739265"/>
          </a:xfrm>
        </p:spPr>
        <p:txBody>
          <a:bodyPr anchor="ctr">
            <a:normAutofit/>
          </a:bodyPr>
          <a:lstStyle>
            <a:lvl1pPr>
              <a:defRPr cap="all" baseline="0"/>
            </a:lvl1pPr>
          </a:lstStyle>
          <a:p>
            <a:r>
              <a:rPr lang="en-GB" noProof="0"/>
              <a:t>Click to edit Master title style</a:t>
            </a:r>
            <a:endParaRPr lang="nb-NO" noProof="0"/>
          </a:p>
        </p:txBody>
      </p:sp>
      <p:sp>
        <p:nvSpPr>
          <p:cNvPr id="6" name="Text Placeholder 5">
            <a:extLst>
              <a:ext uri="{FF2B5EF4-FFF2-40B4-BE49-F238E27FC236}">
                <a16:creationId xmlns:a16="http://schemas.microsoft.com/office/drawing/2014/main" id="{52267BAE-DC8A-44D2-B589-C46F3F1EC6E8}"/>
              </a:ext>
            </a:extLst>
          </p:cNvPr>
          <p:cNvSpPr>
            <a:spLocks noGrp="1"/>
          </p:cNvSpPr>
          <p:nvPr>
            <p:ph type="body" sz="quarter" idx="10"/>
          </p:nvPr>
        </p:nvSpPr>
        <p:spPr>
          <a:xfrm>
            <a:off x="4295776" y="4682490"/>
            <a:ext cx="3600449" cy="1518284"/>
          </a:xfrm>
        </p:spPr>
        <p:txBody>
          <a:bodyPr>
            <a:normAutofit/>
          </a:bodyPr>
          <a:lstStyle>
            <a:lvl1pPr marL="0" indent="0">
              <a:lnSpc>
                <a:spcPct val="100000"/>
              </a:lnSpc>
              <a:buNone/>
              <a:defRPr sz="2000"/>
            </a:lvl1pPr>
          </a:lstStyle>
          <a:p>
            <a:pPr lvl="0"/>
            <a:r>
              <a:rPr lang="en-GB" noProof="0"/>
              <a:t>Click to edit Master text styles</a:t>
            </a:r>
          </a:p>
        </p:txBody>
      </p:sp>
      <p:grpSp>
        <p:nvGrpSpPr>
          <p:cNvPr id="13" name="Group 12">
            <a:extLst>
              <a:ext uri="{FF2B5EF4-FFF2-40B4-BE49-F238E27FC236}">
                <a16:creationId xmlns:a16="http://schemas.microsoft.com/office/drawing/2014/main" id="{CAC8FE81-5735-42BA-87F1-DA163126BB78}"/>
              </a:ext>
            </a:extLst>
          </p:cNvPr>
          <p:cNvGrpSpPr/>
          <p:nvPr userDrawn="1"/>
        </p:nvGrpSpPr>
        <p:grpSpPr>
          <a:xfrm>
            <a:off x="839788" y="631216"/>
            <a:ext cx="2237431" cy="2735899"/>
            <a:chOff x="865822" y="550830"/>
            <a:chExt cx="2656398" cy="3248206"/>
          </a:xfrm>
        </p:grpSpPr>
        <p:sp>
          <p:nvSpPr>
            <p:cNvPr id="14" name="Freeform: Shape 13">
              <a:extLst>
                <a:ext uri="{FF2B5EF4-FFF2-40B4-BE49-F238E27FC236}">
                  <a16:creationId xmlns:a16="http://schemas.microsoft.com/office/drawing/2014/main" id="{A6986C9B-4CCE-42FF-8AAD-5457295EC0C5}"/>
                </a:ext>
              </a:extLst>
            </p:cNvPr>
            <p:cNvSpPr/>
            <p:nvPr/>
          </p:nvSpPr>
          <p:spPr>
            <a:xfrm>
              <a:off x="865822" y="2225582"/>
              <a:ext cx="1157097" cy="1167831"/>
            </a:xfrm>
            <a:custGeom>
              <a:avLst/>
              <a:gdLst>
                <a:gd name="connsiteX0" fmla="*/ 0 w 1157097"/>
                <a:gd name="connsiteY0" fmla="*/ 0 h 1167831"/>
                <a:gd name="connsiteX1" fmla="*/ 437807 w 1157097"/>
                <a:gd name="connsiteY1" fmla="*/ 345291 h 1167831"/>
                <a:gd name="connsiteX2" fmla="*/ 1035272 w 1157097"/>
                <a:gd name="connsiteY2" fmla="*/ 1038092 h 1167831"/>
                <a:gd name="connsiteX3" fmla="*/ 1157097 w 1157097"/>
                <a:gd name="connsiteY3" fmla="*/ 1167832 h 1167831"/>
                <a:gd name="connsiteX4" fmla="*/ 0 w 1157097"/>
                <a:gd name="connsiteY4" fmla="*/ 1167832 h 1167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097" h="1167831">
                  <a:moveTo>
                    <a:pt x="0" y="0"/>
                  </a:moveTo>
                  <a:cubicBezTo>
                    <a:pt x="224971" y="17688"/>
                    <a:pt x="331661" y="102013"/>
                    <a:pt x="437807" y="345291"/>
                  </a:cubicBezTo>
                  <a:cubicBezTo>
                    <a:pt x="569490" y="643852"/>
                    <a:pt x="742522" y="844620"/>
                    <a:pt x="1035272" y="1038092"/>
                  </a:cubicBezTo>
                  <a:cubicBezTo>
                    <a:pt x="1085425" y="1071268"/>
                    <a:pt x="1127140" y="1115693"/>
                    <a:pt x="1157097" y="1167832"/>
                  </a:cubicBezTo>
                  <a:lnTo>
                    <a:pt x="0" y="1167832"/>
                  </a:lnTo>
                  <a:close/>
                </a:path>
              </a:pathLst>
            </a:custGeom>
            <a:solidFill>
              <a:schemeClr val="accent2"/>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BA8051A-286F-4DC0-9033-2F6ED3BD30AB}"/>
                </a:ext>
              </a:extLst>
            </p:cNvPr>
            <p:cNvSpPr/>
            <p:nvPr/>
          </p:nvSpPr>
          <p:spPr>
            <a:xfrm>
              <a:off x="1764639" y="2631214"/>
              <a:ext cx="1157106" cy="1167822"/>
            </a:xfrm>
            <a:custGeom>
              <a:avLst/>
              <a:gdLst>
                <a:gd name="connsiteX0" fmla="*/ 1157107 w 1157106"/>
                <a:gd name="connsiteY0" fmla="*/ 1167822 h 1167822"/>
                <a:gd name="connsiteX1" fmla="*/ 719300 w 1157106"/>
                <a:gd name="connsiteY1" fmla="*/ 822532 h 1167822"/>
                <a:gd name="connsiteX2" fmla="*/ 121825 w 1157106"/>
                <a:gd name="connsiteY2" fmla="*/ 129740 h 1167822"/>
                <a:gd name="connsiteX3" fmla="*/ 0 w 1157106"/>
                <a:gd name="connsiteY3" fmla="*/ 0 h 1167822"/>
                <a:gd name="connsiteX4" fmla="*/ 1157107 w 1157106"/>
                <a:gd name="connsiteY4" fmla="*/ 0 h 1167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06" h="1167822">
                  <a:moveTo>
                    <a:pt x="1157107" y="1167822"/>
                  </a:moveTo>
                  <a:cubicBezTo>
                    <a:pt x="932126" y="1150134"/>
                    <a:pt x="825437" y="1065809"/>
                    <a:pt x="719300" y="822532"/>
                  </a:cubicBezTo>
                  <a:cubicBezTo>
                    <a:pt x="587616" y="523970"/>
                    <a:pt x="414576" y="323202"/>
                    <a:pt x="121825" y="129740"/>
                  </a:cubicBezTo>
                  <a:cubicBezTo>
                    <a:pt x="71673" y="96564"/>
                    <a:pt x="29957" y="52139"/>
                    <a:pt x="0" y="0"/>
                  </a:cubicBezTo>
                  <a:lnTo>
                    <a:pt x="1157107" y="0"/>
                  </a:lnTo>
                  <a:close/>
                </a:path>
              </a:pathLst>
            </a:custGeom>
            <a:solidFill>
              <a:schemeClr val="accent2"/>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B4592F1-4806-4F5E-839B-30E40F378EB4}"/>
                </a:ext>
              </a:extLst>
            </p:cNvPr>
            <p:cNvSpPr/>
            <p:nvPr/>
          </p:nvSpPr>
          <p:spPr>
            <a:xfrm>
              <a:off x="2321261" y="2215353"/>
              <a:ext cx="1200959" cy="598093"/>
            </a:xfrm>
            <a:custGeom>
              <a:avLst/>
              <a:gdLst>
                <a:gd name="connsiteX0" fmla="*/ 1200960 w 1200959"/>
                <a:gd name="connsiteY0" fmla="*/ 598093 h 598093"/>
                <a:gd name="connsiteX1" fmla="*/ 598088 w 1200959"/>
                <a:gd name="connsiteY1" fmla="*/ 5 h 598093"/>
                <a:gd name="connsiteX2" fmla="*/ 0 w 1200959"/>
                <a:gd name="connsiteY2" fmla="*/ 598093 h 598093"/>
              </a:gdLst>
              <a:ahLst/>
              <a:cxnLst>
                <a:cxn ang="0">
                  <a:pos x="connsiteX0" y="connsiteY0"/>
                </a:cxn>
                <a:cxn ang="0">
                  <a:pos x="connsiteX1" y="connsiteY1"/>
                </a:cxn>
                <a:cxn ang="0">
                  <a:pos x="connsiteX2" y="connsiteY2"/>
                </a:cxn>
              </a:cxnLst>
              <a:rect l="l" t="t" r="r" b="b"/>
              <a:pathLst>
                <a:path w="1200959" h="598093">
                  <a:moveTo>
                    <a:pt x="1200960" y="598093"/>
                  </a:moveTo>
                  <a:cubicBezTo>
                    <a:pt x="1199639" y="266457"/>
                    <a:pt x="929724" y="-1316"/>
                    <a:pt x="598088" y="5"/>
                  </a:cubicBezTo>
                  <a:cubicBezTo>
                    <a:pt x="268319" y="1318"/>
                    <a:pt x="1313" y="268324"/>
                    <a:pt x="0" y="598093"/>
                  </a:cubicBezTo>
                  <a:close/>
                </a:path>
              </a:pathLst>
            </a:custGeom>
            <a:solidFill>
              <a:schemeClr val="accent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95829615-7555-44DF-B735-CC693C28B9C4}"/>
                </a:ext>
              </a:extLst>
            </p:cNvPr>
            <p:cNvSpPr/>
            <p:nvPr/>
          </p:nvSpPr>
          <p:spPr>
            <a:xfrm>
              <a:off x="1444380" y="1296332"/>
              <a:ext cx="654634" cy="566928"/>
            </a:xfrm>
            <a:custGeom>
              <a:avLst/>
              <a:gdLst>
                <a:gd name="connsiteX0" fmla="*/ 327317 w 654634"/>
                <a:gd name="connsiteY0" fmla="*/ 0 h 566928"/>
                <a:gd name="connsiteX1" fmla="*/ 490976 w 654634"/>
                <a:gd name="connsiteY1" fmla="*/ 283464 h 566928"/>
                <a:gd name="connsiteX2" fmla="*/ 654634 w 654634"/>
                <a:gd name="connsiteY2" fmla="*/ 566928 h 566928"/>
                <a:gd name="connsiteX3" fmla="*/ 327317 w 654634"/>
                <a:gd name="connsiteY3" fmla="*/ 566928 h 566928"/>
                <a:gd name="connsiteX4" fmla="*/ 0 w 654634"/>
                <a:gd name="connsiteY4" fmla="*/ 566928 h 566928"/>
                <a:gd name="connsiteX5" fmla="*/ 163659 w 654634"/>
                <a:gd name="connsiteY5" fmla="*/ 283464 h 566928"/>
                <a:gd name="connsiteX6" fmla="*/ 327317 w 654634"/>
                <a:gd name="connsiteY6" fmla="*/ 0 h 56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634" h="566928">
                  <a:moveTo>
                    <a:pt x="327317" y="0"/>
                  </a:moveTo>
                  <a:lnTo>
                    <a:pt x="490976" y="283464"/>
                  </a:lnTo>
                  <a:lnTo>
                    <a:pt x="654634" y="566928"/>
                  </a:lnTo>
                  <a:lnTo>
                    <a:pt x="327317" y="566928"/>
                  </a:lnTo>
                  <a:lnTo>
                    <a:pt x="0" y="566928"/>
                  </a:lnTo>
                  <a:lnTo>
                    <a:pt x="163659" y="283464"/>
                  </a:lnTo>
                  <a:lnTo>
                    <a:pt x="327317" y="0"/>
                  </a:lnTo>
                  <a:close/>
                </a:path>
              </a:pathLst>
            </a:custGeom>
            <a:solidFill>
              <a:schemeClr val="accent1"/>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C247127-CEBA-4B34-A9C2-62C7E64DE2A7}"/>
                </a:ext>
              </a:extLst>
            </p:cNvPr>
            <p:cNvSpPr/>
            <p:nvPr/>
          </p:nvSpPr>
          <p:spPr>
            <a:xfrm>
              <a:off x="2422359" y="550830"/>
              <a:ext cx="654634" cy="566927"/>
            </a:xfrm>
            <a:custGeom>
              <a:avLst/>
              <a:gdLst>
                <a:gd name="connsiteX0" fmla="*/ 327317 w 654634"/>
                <a:gd name="connsiteY0" fmla="*/ 0 h 566927"/>
                <a:gd name="connsiteX1" fmla="*/ 490976 w 654634"/>
                <a:gd name="connsiteY1" fmla="*/ 283464 h 566927"/>
                <a:gd name="connsiteX2" fmla="*/ 654634 w 654634"/>
                <a:gd name="connsiteY2" fmla="*/ 566928 h 566927"/>
                <a:gd name="connsiteX3" fmla="*/ 327317 w 654634"/>
                <a:gd name="connsiteY3" fmla="*/ 566928 h 566927"/>
                <a:gd name="connsiteX4" fmla="*/ 0 w 654634"/>
                <a:gd name="connsiteY4" fmla="*/ 566928 h 566927"/>
                <a:gd name="connsiteX5" fmla="*/ 163658 w 654634"/>
                <a:gd name="connsiteY5" fmla="*/ 283464 h 566927"/>
                <a:gd name="connsiteX6" fmla="*/ 327317 w 654634"/>
                <a:gd name="connsiteY6" fmla="*/ 0 h 56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634" h="566927">
                  <a:moveTo>
                    <a:pt x="327317" y="0"/>
                  </a:moveTo>
                  <a:lnTo>
                    <a:pt x="490976" y="283464"/>
                  </a:lnTo>
                  <a:lnTo>
                    <a:pt x="654634" y="566928"/>
                  </a:lnTo>
                  <a:lnTo>
                    <a:pt x="327317" y="566928"/>
                  </a:lnTo>
                  <a:lnTo>
                    <a:pt x="0" y="566928"/>
                  </a:lnTo>
                  <a:lnTo>
                    <a:pt x="163658" y="283464"/>
                  </a:lnTo>
                  <a:lnTo>
                    <a:pt x="327317" y="0"/>
                  </a:lnTo>
                  <a:close/>
                </a:path>
              </a:pathLst>
            </a:custGeom>
            <a:solidFill>
              <a:schemeClr val="accent1"/>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0C5B8255-CCD1-4D86-B5C7-1A8B9D2466FF}"/>
                </a:ext>
              </a:extLst>
            </p:cNvPr>
            <p:cNvSpPr/>
            <p:nvPr/>
          </p:nvSpPr>
          <p:spPr>
            <a:xfrm>
              <a:off x="2749676" y="834294"/>
              <a:ext cx="654624" cy="566928"/>
            </a:xfrm>
            <a:custGeom>
              <a:avLst/>
              <a:gdLst>
                <a:gd name="connsiteX0" fmla="*/ 327317 w 654624"/>
                <a:gd name="connsiteY0" fmla="*/ 0 h 566928"/>
                <a:gd name="connsiteX1" fmla="*/ 490976 w 654624"/>
                <a:gd name="connsiteY1" fmla="*/ 283464 h 566928"/>
                <a:gd name="connsiteX2" fmla="*/ 654625 w 654624"/>
                <a:gd name="connsiteY2" fmla="*/ 566928 h 566928"/>
                <a:gd name="connsiteX3" fmla="*/ 327317 w 654624"/>
                <a:gd name="connsiteY3" fmla="*/ 566928 h 566928"/>
                <a:gd name="connsiteX4" fmla="*/ 0 w 654624"/>
                <a:gd name="connsiteY4" fmla="*/ 566928 h 566928"/>
                <a:gd name="connsiteX5" fmla="*/ 163659 w 654624"/>
                <a:gd name="connsiteY5" fmla="*/ 283464 h 566928"/>
                <a:gd name="connsiteX6" fmla="*/ 327317 w 654624"/>
                <a:gd name="connsiteY6" fmla="*/ 0 h 56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624" h="566928">
                  <a:moveTo>
                    <a:pt x="327317" y="0"/>
                  </a:moveTo>
                  <a:lnTo>
                    <a:pt x="490976" y="283464"/>
                  </a:lnTo>
                  <a:lnTo>
                    <a:pt x="654625" y="566928"/>
                  </a:lnTo>
                  <a:lnTo>
                    <a:pt x="327317" y="566928"/>
                  </a:lnTo>
                  <a:lnTo>
                    <a:pt x="0" y="566928"/>
                  </a:lnTo>
                  <a:lnTo>
                    <a:pt x="163659" y="283464"/>
                  </a:lnTo>
                  <a:lnTo>
                    <a:pt x="327317" y="0"/>
                  </a:lnTo>
                  <a:close/>
                </a:path>
              </a:pathLst>
            </a:custGeom>
            <a:solidFill>
              <a:schemeClr val="accent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527981405"/>
      </p:ext>
    </p:extLst>
  </p:cSld>
  <p:clrMapOvr>
    <a:masterClrMapping/>
  </p:clrMapOvr>
  <p:extLst>
    <p:ext uri="{DCECCB84-F9BA-43D5-87BE-67443E8EF086}">
      <p15:sldGuideLst xmlns:p15="http://schemas.microsoft.com/office/powerpoint/2012/main">
        <p15:guide id="1" pos="2706">
          <p15:clr>
            <a:srgbClr val="FBAE40"/>
          </p15:clr>
        </p15:guide>
        <p15:guide id="2" pos="497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vslutning alternativ 1">
    <p:bg>
      <p:bgPr>
        <a:solidFill>
          <a:schemeClr val="bg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F8F0A41-A289-44BD-93D7-44141F13C11D}"/>
              </a:ext>
            </a:extLst>
          </p:cNvPr>
          <p:cNvSpPr/>
          <p:nvPr/>
        </p:nvSpPr>
        <p:spPr>
          <a:xfrm>
            <a:off x="9389087" y="1437505"/>
            <a:ext cx="990782" cy="1981623"/>
          </a:xfrm>
          <a:custGeom>
            <a:avLst/>
            <a:gdLst>
              <a:gd name="connsiteX0" fmla="*/ 1123191 w 1123226"/>
              <a:gd name="connsiteY0" fmla="*/ -73 h 2246518"/>
              <a:gd name="connsiteX1" fmla="*/ 1123191 w 1123226"/>
              <a:gd name="connsiteY1" fmla="*/ 2246446 h 2246518"/>
              <a:gd name="connsiteX2" fmla="*/ -36 w 1123226"/>
              <a:gd name="connsiteY2" fmla="*/ 1123220 h 2246518"/>
              <a:gd name="connsiteX3" fmla="*/ 1123191 w 1123226"/>
              <a:gd name="connsiteY3" fmla="*/ -7 h 2246518"/>
            </a:gdLst>
            <a:ahLst/>
            <a:cxnLst>
              <a:cxn ang="0">
                <a:pos x="connsiteX0" y="connsiteY0"/>
              </a:cxn>
              <a:cxn ang="0">
                <a:pos x="connsiteX1" y="connsiteY1"/>
              </a:cxn>
              <a:cxn ang="0">
                <a:pos x="connsiteX2" y="connsiteY2"/>
              </a:cxn>
              <a:cxn ang="0">
                <a:pos x="connsiteX3" y="connsiteY3"/>
              </a:cxn>
            </a:cxnLst>
            <a:rect l="l" t="t" r="r" b="b"/>
            <a:pathLst>
              <a:path w="1123226" h="2246518">
                <a:moveTo>
                  <a:pt x="1123191" y="-73"/>
                </a:moveTo>
                <a:lnTo>
                  <a:pt x="1123191" y="2246446"/>
                </a:lnTo>
                <a:cubicBezTo>
                  <a:pt x="502850" y="2246446"/>
                  <a:pt x="-36" y="1743560"/>
                  <a:pt x="-36" y="1123220"/>
                </a:cubicBezTo>
                <a:cubicBezTo>
                  <a:pt x="-36" y="502879"/>
                  <a:pt x="502850" y="-7"/>
                  <a:pt x="1123191" y="-7"/>
                </a:cubicBezTo>
                <a:close/>
              </a:path>
            </a:pathLst>
          </a:custGeom>
          <a:solidFill>
            <a:schemeClr val="accent3"/>
          </a:solidFill>
          <a:ln w="7144"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3289A2E8-3D65-441A-A338-504F33981BA4}"/>
              </a:ext>
            </a:extLst>
          </p:cNvPr>
          <p:cNvGrpSpPr/>
          <p:nvPr userDrawn="1"/>
        </p:nvGrpSpPr>
        <p:grpSpPr>
          <a:xfrm rot="5400000">
            <a:off x="9296572" y="1548758"/>
            <a:ext cx="431536" cy="1735057"/>
            <a:chOff x="11870514" y="244569"/>
            <a:chExt cx="151518" cy="609202"/>
          </a:xfrm>
          <a:solidFill>
            <a:schemeClr val="tx1"/>
          </a:solidFill>
        </p:grpSpPr>
        <p:sp>
          <p:nvSpPr>
            <p:cNvPr id="16" name="Freeform: Shape 15">
              <a:extLst>
                <a:ext uri="{FF2B5EF4-FFF2-40B4-BE49-F238E27FC236}">
                  <a16:creationId xmlns:a16="http://schemas.microsoft.com/office/drawing/2014/main" id="{5402AC29-8A61-4CA4-8CB8-4BC3EC56A3B9}"/>
                </a:ext>
              </a:extLst>
            </p:cNvPr>
            <p:cNvSpPr/>
            <p:nvPr/>
          </p:nvSpPr>
          <p:spPr>
            <a:xfrm rot="16200000">
              <a:off x="11641672" y="473411"/>
              <a:ext cx="609202" cy="151518"/>
            </a:xfrm>
            <a:custGeom>
              <a:avLst/>
              <a:gdLst>
                <a:gd name="connsiteX0" fmla="*/ 413946 w 609202"/>
                <a:gd name="connsiteY0" fmla="*/ 49664 h 151518"/>
                <a:gd name="connsiteX1" fmla="*/ 384494 w 609202"/>
                <a:gd name="connsiteY1" fmla="*/ 125217 h 151518"/>
                <a:gd name="connsiteX2" fmla="*/ 354820 w 609202"/>
                <a:gd name="connsiteY2" fmla="*/ 49664 h 151518"/>
                <a:gd name="connsiteX3" fmla="*/ 331666 w 609202"/>
                <a:gd name="connsiteY3" fmla="*/ 49664 h 151518"/>
                <a:gd name="connsiteX4" fmla="*/ 372910 w 609202"/>
                <a:gd name="connsiteY4" fmla="*/ 147314 h 151518"/>
                <a:gd name="connsiteX5" fmla="*/ 393955 w 609202"/>
                <a:gd name="connsiteY5" fmla="*/ 147314 h 151518"/>
                <a:gd name="connsiteX6" fmla="*/ 435214 w 609202"/>
                <a:gd name="connsiteY6" fmla="*/ 49665 h 151518"/>
                <a:gd name="connsiteX7" fmla="*/ 297359 w 609202"/>
                <a:gd name="connsiteY7" fmla="*/ 49664 h 151518"/>
                <a:gd name="connsiteX8" fmla="*/ 297359 w 609202"/>
                <a:gd name="connsiteY8" fmla="*/ 101215 h 151518"/>
                <a:gd name="connsiteX9" fmla="*/ 272528 w 609202"/>
                <a:gd name="connsiteY9" fmla="*/ 130474 h 151518"/>
                <a:gd name="connsiteX10" fmla="*/ 247695 w 609202"/>
                <a:gd name="connsiteY10" fmla="*/ 101215 h 151518"/>
                <a:gd name="connsiteX11" fmla="*/ 247695 w 609202"/>
                <a:gd name="connsiteY11" fmla="*/ 49664 h 151518"/>
                <a:gd name="connsiteX12" fmla="*/ 227067 w 609202"/>
                <a:gd name="connsiteY12" fmla="*/ 49664 h 151518"/>
                <a:gd name="connsiteX13" fmla="*/ 227067 w 609202"/>
                <a:gd name="connsiteY13" fmla="*/ 102060 h 151518"/>
                <a:gd name="connsiteX14" fmla="*/ 272528 w 609202"/>
                <a:gd name="connsiteY14" fmla="*/ 149408 h 151518"/>
                <a:gd name="connsiteX15" fmla="*/ 317989 w 609202"/>
                <a:gd name="connsiteY15" fmla="*/ 102060 h 151518"/>
                <a:gd name="connsiteX16" fmla="*/ 317989 w 609202"/>
                <a:gd name="connsiteY16" fmla="*/ 49664 h 151518"/>
                <a:gd name="connsiteX17" fmla="*/ 162877 w 609202"/>
                <a:gd name="connsiteY17" fmla="*/ 47347 h 151518"/>
                <a:gd name="connsiteX18" fmla="*/ 140599 w 609202"/>
                <a:gd name="connsiteY18" fmla="*/ 52442 h 151518"/>
                <a:gd name="connsiteX19" fmla="*/ 112797 w 609202"/>
                <a:gd name="connsiteY19" fmla="*/ 97428 h 151518"/>
                <a:gd name="connsiteX20" fmla="*/ 156150 w 609202"/>
                <a:gd name="connsiteY20" fmla="*/ 151519 h 151518"/>
                <a:gd name="connsiteX21" fmla="*/ 168567 w 609202"/>
                <a:gd name="connsiteY21" fmla="*/ 144568 h 151518"/>
                <a:gd name="connsiteX22" fmla="*/ 197603 w 609202"/>
                <a:gd name="connsiteY22" fmla="*/ 119528 h 151518"/>
                <a:gd name="connsiteX23" fmla="*/ 212335 w 609202"/>
                <a:gd name="connsiteY23" fmla="*/ 96596 h 151518"/>
                <a:gd name="connsiteX24" fmla="*/ 162879 w 609202"/>
                <a:gd name="connsiteY24" fmla="*/ 47348 h 151518"/>
                <a:gd name="connsiteX25" fmla="*/ 184768 w 609202"/>
                <a:gd name="connsiteY25" fmla="*/ 112799 h 151518"/>
                <a:gd name="connsiteX26" fmla="*/ 168567 w 609202"/>
                <a:gd name="connsiteY26" fmla="*/ 129419 h 151518"/>
                <a:gd name="connsiteX27" fmla="*/ 161200 w 609202"/>
                <a:gd name="connsiteY27" fmla="*/ 133844 h 151518"/>
                <a:gd name="connsiteX28" fmla="*/ 132373 w 609202"/>
                <a:gd name="connsiteY28" fmla="*/ 100591 h 151518"/>
                <a:gd name="connsiteX29" fmla="*/ 162671 w 609202"/>
                <a:gd name="connsiteY29" fmla="*/ 70070 h 151518"/>
                <a:gd name="connsiteX30" fmla="*/ 192557 w 609202"/>
                <a:gd name="connsiteY30" fmla="*/ 100182 h 151518"/>
                <a:gd name="connsiteX31" fmla="*/ 192557 w 609202"/>
                <a:gd name="connsiteY31" fmla="*/ 100182 h 151518"/>
                <a:gd name="connsiteX32" fmla="*/ 192553 w 609202"/>
                <a:gd name="connsiteY32" fmla="*/ 100589 h 151518"/>
                <a:gd name="connsiteX33" fmla="*/ 184772 w 609202"/>
                <a:gd name="connsiteY33" fmla="*/ 112797 h 151518"/>
                <a:gd name="connsiteX34" fmla="*/ 51342 w 609202"/>
                <a:gd name="connsiteY34" fmla="*/ 47347 h 151518"/>
                <a:gd name="connsiteX35" fmla="*/ 20198 w 609202"/>
                <a:gd name="connsiteY35" fmla="*/ 59555 h 151518"/>
                <a:gd name="connsiteX36" fmla="*/ 19991 w 609202"/>
                <a:gd name="connsiteY36" fmla="*/ 0 h 151518"/>
                <a:gd name="connsiteX37" fmla="*/ 0 w 609202"/>
                <a:gd name="connsiteY37" fmla="*/ 0 h 151518"/>
                <a:gd name="connsiteX38" fmla="*/ 0 w 609202"/>
                <a:gd name="connsiteY38" fmla="*/ 147315 h 151518"/>
                <a:gd name="connsiteX39" fmla="*/ 20630 w 609202"/>
                <a:gd name="connsiteY39" fmla="*/ 147315 h 151518"/>
                <a:gd name="connsiteX40" fmla="*/ 20630 w 609202"/>
                <a:gd name="connsiteY40" fmla="*/ 137422 h 151518"/>
                <a:gd name="connsiteX41" fmla="*/ 51344 w 609202"/>
                <a:gd name="connsiteY41" fmla="*/ 149200 h 151518"/>
                <a:gd name="connsiteX42" fmla="*/ 100175 w 609202"/>
                <a:gd name="connsiteY42" fmla="*/ 98273 h 151518"/>
                <a:gd name="connsiteX43" fmla="*/ 51342 w 609202"/>
                <a:gd name="connsiteY43" fmla="*/ 47347 h 151518"/>
                <a:gd name="connsiteX44" fmla="*/ 49664 w 609202"/>
                <a:gd name="connsiteY44" fmla="*/ 130266 h 151518"/>
                <a:gd name="connsiteX45" fmla="*/ 20198 w 609202"/>
                <a:gd name="connsiteY45" fmla="*/ 98275 h 151518"/>
                <a:gd name="connsiteX46" fmla="*/ 49664 w 609202"/>
                <a:gd name="connsiteY46" fmla="*/ 66284 h 151518"/>
                <a:gd name="connsiteX47" fmla="*/ 79131 w 609202"/>
                <a:gd name="connsiteY47" fmla="*/ 98276 h 151518"/>
                <a:gd name="connsiteX48" fmla="*/ 49662 w 609202"/>
                <a:gd name="connsiteY48" fmla="*/ 130264 h 151518"/>
                <a:gd name="connsiteX49" fmla="*/ 609203 w 609202"/>
                <a:gd name="connsiteY49" fmla="*/ 49664 h 151518"/>
                <a:gd name="connsiteX50" fmla="*/ 579321 w 609202"/>
                <a:gd name="connsiteY50" fmla="*/ 49664 h 151518"/>
                <a:gd name="connsiteX51" fmla="*/ 579099 w 609202"/>
                <a:gd name="connsiteY51" fmla="*/ 0 h 151518"/>
                <a:gd name="connsiteX52" fmla="*/ 559107 w 609202"/>
                <a:gd name="connsiteY52" fmla="*/ 0 h 151518"/>
                <a:gd name="connsiteX53" fmla="*/ 559107 w 609202"/>
                <a:gd name="connsiteY53" fmla="*/ 49664 h 151518"/>
                <a:gd name="connsiteX54" fmla="*/ 545369 w 609202"/>
                <a:gd name="connsiteY54" fmla="*/ 49664 h 151518"/>
                <a:gd name="connsiteX55" fmla="*/ 545369 w 609202"/>
                <a:gd name="connsiteY55" fmla="*/ 67545 h 151518"/>
                <a:gd name="connsiteX56" fmla="*/ 559107 w 609202"/>
                <a:gd name="connsiteY56" fmla="*/ 67545 h 151518"/>
                <a:gd name="connsiteX57" fmla="*/ 559107 w 609202"/>
                <a:gd name="connsiteY57" fmla="*/ 147314 h 151518"/>
                <a:gd name="connsiteX58" fmla="*/ 579529 w 609202"/>
                <a:gd name="connsiteY58" fmla="*/ 147314 h 151518"/>
                <a:gd name="connsiteX59" fmla="*/ 579321 w 609202"/>
                <a:gd name="connsiteY59" fmla="*/ 67545 h 151518"/>
                <a:gd name="connsiteX60" fmla="*/ 609203 w 609202"/>
                <a:gd name="connsiteY60" fmla="*/ 67545 h 15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9202" h="151518">
                  <a:moveTo>
                    <a:pt x="413946" y="49664"/>
                  </a:moveTo>
                  <a:lnTo>
                    <a:pt x="384494" y="125217"/>
                  </a:lnTo>
                  <a:lnTo>
                    <a:pt x="354820" y="49664"/>
                  </a:lnTo>
                  <a:lnTo>
                    <a:pt x="331666" y="49664"/>
                  </a:lnTo>
                  <a:lnTo>
                    <a:pt x="372910" y="147314"/>
                  </a:lnTo>
                  <a:lnTo>
                    <a:pt x="393955" y="147314"/>
                  </a:lnTo>
                  <a:lnTo>
                    <a:pt x="435214" y="49665"/>
                  </a:lnTo>
                  <a:close/>
                  <a:moveTo>
                    <a:pt x="297359" y="49664"/>
                  </a:moveTo>
                  <a:lnTo>
                    <a:pt x="297359" y="101215"/>
                  </a:lnTo>
                  <a:cubicBezTo>
                    <a:pt x="297359" y="119735"/>
                    <a:pt x="288314" y="130474"/>
                    <a:pt x="272528" y="130474"/>
                  </a:cubicBezTo>
                  <a:cubicBezTo>
                    <a:pt x="256742" y="130474"/>
                    <a:pt x="247695" y="119735"/>
                    <a:pt x="247695" y="101215"/>
                  </a:cubicBezTo>
                  <a:lnTo>
                    <a:pt x="247695" y="49664"/>
                  </a:lnTo>
                  <a:lnTo>
                    <a:pt x="227067" y="49664"/>
                  </a:lnTo>
                  <a:lnTo>
                    <a:pt x="227067" y="102060"/>
                  </a:lnTo>
                  <a:cubicBezTo>
                    <a:pt x="227067" y="131111"/>
                    <a:pt x="244533" y="149408"/>
                    <a:pt x="272528" y="149408"/>
                  </a:cubicBezTo>
                  <a:cubicBezTo>
                    <a:pt x="300523" y="149408"/>
                    <a:pt x="317989" y="131111"/>
                    <a:pt x="317989" y="102060"/>
                  </a:cubicBezTo>
                  <a:lnTo>
                    <a:pt x="317989" y="49664"/>
                  </a:lnTo>
                  <a:close/>
                  <a:moveTo>
                    <a:pt x="162877" y="47347"/>
                  </a:moveTo>
                  <a:cubicBezTo>
                    <a:pt x="155160" y="47330"/>
                    <a:pt x="147541" y="49072"/>
                    <a:pt x="140599" y="52442"/>
                  </a:cubicBezTo>
                  <a:cubicBezTo>
                    <a:pt x="123437" y="60827"/>
                    <a:pt x="112621" y="78328"/>
                    <a:pt x="112797" y="97428"/>
                  </a:cubicBezTo>
                  <a:cubicBezTo>
                    <a:pt x="112797" y="122482"/>
                    <a:pt x="136159" y="151519"/>
                    <a:pt x="156150" y="151519"/>
                  </a:cubicBezTo>
                  <a:cubicBezTo>
                    <a:pt x="161205" y="151479"/>
                    <a:pt x="165890" y="148857"/>
                    <a:pt x="168567" y="144568"/>
                  </a:cubicBezTo>
                  <a:cubicBezTo>
                    <a:pt x="176781" y="132150"/>
                    <a:pt x="185200" y="125009"/>
                    <a:pt x="197603" y="119528"/>
                  </a:cubicBezTo>
                  <a:cubicBezTo>
                    <a:pt x="209187" y="114478"/>
                    <a:pt x="212335" y="109428"/>
                    <a:pt x="212335" y="96596"/>
                  </a:cubicBezTo>
                  <a:cubicBezTo>
                    <a:pt x="212335" y="68809"/>
                    <a:pt x="190667" y="47348"/>
                    <a:pt x="162879" y="47348"/>
                  </a:cubicBezTo>
                  <a:close/>
                  <a:moveTo>
                    <a:pt x="184768" y="112799"/>
                  </a:moveTo>
                  <a:cubicBezTo>
                    <a:pt x="176348" y="118057"/>
                    <a:pt x="171938" y="122483"/>
                    <a:pt x="168567" y="129419"/>
                  </a:cubicBezTo>
                  <a:cubicBezTo>
                    <a:pt x="167173" y="132194"/>
                    <a:pt x="164305" y="133917"/>
                    <a:pt x="161200" y="133844"/>
                  </a:cubicBezTo>
                  <a:cubicBezTo>
                    <a:pt x="147729" y="133844"/>
                    <a:pt x="132373" y="116156"/>
                    <a:pt x="132373" y="100591"/>
                  </a:cubicBezTo>
                  <a:cubicBezTo>
                    <a:pt x="132373" y="83125"/>
                    <a:pt x="145204" y="70070"/>
                    <a:pt x="162671" y="70070"/>
                  </a:cubicBezTo>
                  <a:cubicBezTo>
                    <a:pt x="179239" y="70133"/>
                    <a:pt x="192619" y="83614"/>
                    <a:pt x="192557" y="100182"/>
                  </a:cubicBezTo>
                  <a:lnTo>
                    <a:pt x="192557" y="100182"/>
                  </a:lnTo>
                  <a:cubicBezTo>
                    <a:pt x="192556" y="100317"/>
                    <a:pt x="192554" y="100452"/>
                    <a:pt x="192553" y="100589"/>
                  </a:cubicBezTo>
                  <a:cubicBezTo>
                    <a:pt x="192553" y="106053"/>
                    <a:pt x="190667" y="109217"/>
                    <a:pt x="184772" y="112797"/>
                  </a:cubicBezTo>
                  <a:close/>
                  <a:moveTo>
                    <a:pt x="51342" y="47347"/>
                  </a:moveTo>
                  <a:cubicBezTo>
                    <a:pt x="39770" y="47223"/>
                    <a:pt x="28603" y="51600"/>
                    <a:pt x="20198" y="59555"/>
                  </a:cubicBezTo>
                  <a:lnTo>
                    <a:pt x="19991" y="0"/>
                  </a:lnTo>
                  <a:lnTo>
                    <a:pt x="0" y="0"/>
                  </a:lnTo>
                  <a:lnTo>
                    <a:pt x="0" y="147315"/>
                  </a:lnTo>
                  <a:lnTo>
                    <a:pt x="20630" y="147315"/>
                  </a:lnTo>
                  <a:lnTo>
                    <a:pt x="20630" y="137422"/>
                  </a:lnTo>
                  <a:cubicBezTo>
                    <a:pt x="29061" y="145007"/>
                    <a:pt x="40002" y="149203"/>
                    <a:pt x="51344" y="149200"/>
                  </a:cubicBezTo>
                  <a:cubicBezTo>
                    <a:pt x="79130" y="149200"/>
                    <a:pt x="100175" y="127100"/>
                    <a:pt x="100175" y="98273"/>
                  </a:cubicBezTo>
                  <a:cubicBezTo>
                    <a:pt x="100175" y="69445"/>
                    <a:pt x="79130" y="47347"/>
                    <a:pt x="51342" y="47347"/>
                  </a:cubicBezTo>
                  <a:close/>
                  <a:moveTo>
                    <a:pt x="49664" y="130266"/>
                  </a:moveTo>
                  <a:cubicBezTo>
                    <a:pt x="32822" y="130266"/>
                    <a:pt x="20198" y="116587"/>
                    <a:pt x="20198" y="98275"/>
                  </a:cubicBezTo>
                  <a:cubicBezTo>
                    <a:pt x="20198" y="79962"/>
                    <a:pt x="32822" y="66284"/>
                    <a:pt x="49664" y="66284"/>
                  </a:cubicBezTo>
                  <a:cubicBezTo>
                    <a:pt x="66505" y="66284"/>
                    <a:pt x="79131" y="79962"/>
                    <a:pt x="79131" y="98276"/>
                  </a:cubicBezTo>
                  <a:cubicBezTo>
                    <a:pt x="79131" y="116590"/>
                    <a:pt x="66505" y="130264"/>
                    <a:pt x="49662" y="130264"/>
                  </a:cubicBezTo>
                  <a:close/>
                  <a:moveTo>
                    <a:pt x="609203" y="49664"/>
                  </a:moveTo>
                  <a:lnTo>
                    <a:pt x="579321" y="49664"/>
                  </a:lnTo>
                  <a:lnTo>
                    <a:pt x="579099" y="0"/>
                  </a:lnTo>
                  <a:lnTo>
                    <a:pt x="559107" y="0"/>
                  </a:lnTo>
                  <a:lnTo>
                    <a:pt x="559107" y="49664"/>
                  </a:lnTo>
                  <a:lnTo>
                    <a:pt x="545369" y="49664"/>
                  </a:lnTo>
                  <a:lnTo>
                    <a:pt x="545369" y="67545"/>
                  </a:lnTo>
                  <a:lnTo>
                    <a:pt x="559107" y="67545"/>
                  </a:lnTo>
                  <a:lnTo>
                    <a:pt x="559107" y="147314"/>
                  </a:lnTo>
                  <a:lnTo>
                    <a:pt x="579529" y="147314"/>
                  </a:lnTo>
                  <a:lnTo>
                    <a:pt x="579321" y="67545"/>
                  </a:lnTo>
                  <a:lnTo>
                    <a:pt x="609203" y="67545"/>
                  </a:lnTo>
                  <a:close/>
                </a:path>
              </a:pathLst>
            </a:custGeom>
            <a:grpFill/>
            <a:ln w="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CE4A25F-66AD-4588-A78A-F5842EE74531}"/>
                </a:ext>
              </a:extLst>
            </p:cNvPr>
            <p:cNvSpPr/>
            <p:nvPr/>
          </p:nvSpPr>
          <p:spPr>
            <a:xfrm rot="16200000">
              <a:off x="11921301" y="313678"/>
              <a:ext cx="96119" cy="101875"/>
            </a:xfrm>
            <a:custGeom>
              <a:avLst/>
              <a:gdLst>
                <a:gd name="connsiteX0" fmla="*/ 95810 w 96119"/>
                <a:gd name="connsiteY0" fmla="*/ 56965 h 101875"/>
                <a:gd name="connsiteX1" fmla="*/ 20362 w 96119"/>
                <a:gd name="connsiteY1" fmla="*/ 56965 h 101875"/>
                <a:gd name="connsiteX2" fmla="*/ 34212 w 96119"/>
                <a:gd name="connsiteY2" fmla="*/ 79118 h 101875"/>
                <a:gd name="connsiteX3" fmla="*/ 48915 w 96119"/>
                <a:gd name="connsiteY3" fmla="*/ 82727 h 101875"/>
                <a:gd name="connsiteX4" fmla="*/ 73366 w 96119"/>
                <a:gd name="connsiteY4" fmla="*/ 75426 h 101875"/>
                <a:gd name="connsiteX5" fmla="*/ 79556 w 96119"/>
                <a:gd name="connsiteY5" fmla="*/ 69472 h 101875"/>
                <a:gd name="connsiteX6" fmla="*/ 93354 w 96119"/>
                <a:gd name="connsiteY6" fmla="*/ 82930 h 101875"/>
                <a:gd name="connsiteX7" fmla="*/ 83867 w 96119"/>
                <a:gd name="connsiteY7" fmla="*/ 91638 h 101875"/>
                <a:gd name="connsiteX8" fmla="*/ 46091 w 96119"/>
                <a:gd name="connsiteY8" fmla="*/ 101759 h 101875"/>
                <a:gd name="connsiteX9" fmla="*/ 16168 w 96119"/>
                <a:gd name="connsiteY9" fmla="*/ 89716 h 101875"/>
                <a:gd name="connsiteX10" fmla="*/ 506 w 96119"/>
                <a:gd name="connsiteY10" fmla="*/ 58160 h 101875"/>
                <a:gd name="connsiteX11" fmla="*/ 5248 w 96119"/>
                <a:gd name="connsiteY11" fmla="*/ 26756 h 101875"/>
                <a:gd name="connsiteX12" fmla="*/ 40827 w 96119"/>
                <a:gd name="connsiteY12" fmla="*/ 738 h 101875"/>
                <a:gd name="connsiteX13" fmla="*/ 70343 w 96119"/>
                <a:gd name="connsiteY13" fmla="*/ 4817 h 101875"/>
                <a:gd name="connsiteX14" fmla="*/ 94209 w 96119"/>
                <a:gd name="connsiteY14" fmla="*/ 35590 h 101875"/>
                <a:gd name="connsiteX15" fmla="*/ 95810 w 96119"/>
                <a:gd name="connsiteY15" fmla="*/ 56965 h 101875"/>
                <a:gd name="connsiteX16" fmla="*/ 20776 w 96119"/>
                <a:gd name="connsiteY16" fmla="*/ 40423 h 101875"/>
                <a:gd name="connsiteX17" fmla="*/ 74793 w 96119"/>
                <a:gd name="connsiteY17" fmla="*/ 40423 h 101875"/>
                <a:gd name="connsiteX18" fmla="*/ 50253 w 96119"/>
                <a:gd name="connsiteY18" fmla="*/ 17857 h 101875"/>
                <a:gd name="connsiteX19" fmla="*/ 20776 w 96119"/>
                <a:gd name="connsiteY19" fmla="*/ 40423 h 1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119" h="101875">
                  <a:moveTo>
                    <a:pt x="95810" y="56965"/>
                  </a:moveTo>
                  <a:lnTo>
                    <a:pt x="20362" y="56965"/>
                  </a:lnTo>
                  <a:cubicBezTo>
                    <a:pt x="21886" y="66442"/>
                    <a:pt x="25653" y="74318"/>
                    <a:pt x="34212" y="79118"/>
                  </a:cubicBezTo>
                  <a:cubicBezTo>
                    <a:pt x="38729" y="81545"/>
                    <a:pt x="43788" y="82786"/>
                    <a:pt x="48915" y="82727"/>
                  </a:cubicBezTo>
                  <a:cubicBezTo>
                    <a:pt x="57811" y="82850"/>
                    <a:pt x="66195" y="81075"/>
                    <a:pt x="73366" y="75426"/>
                  </a:cubicBezTo>
                  <a:cubicBezTo>
                    <a:pt x="75532" y="73550"/>
                    <a:pt x="77598" y="71563"/>
                    <a:pt x="79556" y="69472"/>
                  </a:cubicBezTo>
                  <a:lnTo>
                    <a:pt x="93354" y="82930"/>
                  </a:lnTo>
                  <a:cubicBezTo>
                    <a:pt x="90598" y="86246"/>
                    <a:pt x="87407" y="89175"/>
                    <a:pt x="83867" y="91638"/>
                  </a:cubicBezTo>
                  <a:cubicBezTo>
                    <a:pt x="72486" y="99593"/>
                    <a:pt x="59751" y="102519"/>
                    <a:pt x="46091" y="101759"/>
                  </a:cubicBezTo>
                  <a:cubicBezTo>
                    <a:pt x="35014" y="101373"/>
                    <a:pt x="24424" y="97111"/>
                    <a:pt x="16168" y="89716"/>
                  </a:cubicBezTo>
                  <a:cubicBezTo>
                    <a:pt x="6826" y="81316"/>
                    <a:pt x="1889" y="70591"/>
                    <a:pt x="506" y="58160"/>
                  </a:cubicBezTo>
                  <a:cubicBezTo>
                    <a:pt x="-933" y="47454"/>
                    <a:pt x="712" y="36560"/>
                    <a:pt x="5248" y="26756"/>
                  </a:cubicBezTo>
                  <a:cubicBezTo>
                    <a:pt x="12466" y="11681"/>
                    <a:pt x="24591" y="3239"/>
                    <a:pt x="40827" y="738"/>
                  </a:cubicBezTo>
                  <a:cubicBezTo>
                    <a:pt x="50850" y="-1030"/>
                    <a:pt x="61175" y="397"/>
                    <a:pt x="70343" y="4817"/>
                  </a:cubicBezTo>
                  <a:cubicBezTo>
                    <a:pt x="83187" y="11156"/>
                    <a:pt x="90642" y="21889"/>
                    <a:pt x="94209" y="35590"/>
                  </a:cubicBezTo>
                  <a:cubicBezTo>
                    <a:pt x="95990" y="42566"/>
                    <a:pt x="96532" y="49801"/>
                    <a:pt x="95810" y="56965"/>
                  </a:cubicBezTo>
                  <a:close/>
                  <a:moveTo>
                    <a:pt x="20776" y="40423"/>
                  </a:moveTo>
                  <a:lnTo>
                    <a:pt x="74793" y="40423"/>
                  </a:lnTo>
                  <a:cubicBezTo>
                    <a:pt x="73059" y="28002"/>
                    <a:pt x="62776" y="18546"/>
                    <a:pt x="50253" y="17857"/>
                  </a:cubicBezTo>
                  <a:cubicBezTo>
                    <a:pt x="34544" y="16956"/>
                    <a:pt x="23456" y="25443"/>
                    <a:pt x="20776" y="40423"/>
                  </a:cubicBezTo>
                  <a:close/>
                </a:path>
              </a:pathLst>
            </a:custGeom>
            <a:grpFill/>
            <a:ln w="264" cap="flat">
              <a:noFill/>
              <a:prstDash val="solid"/>
              <a:miter/>
            </a:ln>
          </p:spPr>
          <p:txBody>
            <a:bodyPr rtlCol="0" anchor="ctr"/>
            <a:lstStyle/>
            <a:p>
              <a:endParaRPr lang="en-US"/>
            </a:p>
          </p:txBody>
        </p:sp>
      </p:grpSp>
      <p:sp>
        <p:nvSpPr>
          <p:cNvPr id="12" name="Freeform: Shape 11">
            <a:extLst>
              <a:ext uri="{FF2B5EF4-FFF2-40B4-BE49-F238E27FC236}">
                <a16:creationId xmlns:a16="http://schemas.microsoft.com/office/drawing/2014/main" id="{7E9E5F7C-935D-44AE-B4D7-F96F0E923750}"/>
              </a:ext>
            </a:extLst>
          </p:cNvPr>
          <p:cNvSpPr/>
          <p:nvPr/>
        </p:nvSpPr>
        <p:spPr>
          <a:xfrm>
            <a:off x="9732645" y="4429125"/>
            <a:ext cx="1483339" cy="1469731"/>
          </a:xfrm>
          <a:custGeom>
            <a:avLst/>
            <a:gdLst>
              <a:gd name="connsiteX0" fmla="*/ -36 w 2171319"/>
              <a:gd name="connsiteY0" fmla="*/ 2151329 h 2151402"/>
              <a:gd name="connsiteX1" fmla="*/ 641949 w 2171319"/>
              <a:gd name="connsiteY1" fmla="*/ 1337313 h 2151402"/>
              <a:gd name="connsiteX2" fmla="*/ 1930063 w 2171319"/>
              <a:gd name="connsiteY2" fmla="*/ 226441 h 2151402"/>
              <a:gd name="connsiteX3" fmla="*/ 2171284 w 2171319"/>
              <a:gd name="connsiteY3" fmla="*/ -73 h 2151402"/>
              <a:gd name="connsiteX4" fmla="*/ 2171284 w 2171319"/>
              <a:gd name="connsiteY4" fmla="*/ 2151329 h 2151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319" h="2151402">
                <a:moveTo>
                  <a:pt x="-36" y="2151329"/>
                </a:moveTo>
                <a:cubicBezTo>
                  <a:pt x="32854" y="1733029"/>
                  <a:pt x="189636" y="1534661"/>
                  <a:pt x="641949" y="1337313"/>
                </a:cubicBezTo>
                <a:cubicBezTo>
                  <a:pt x="1197057" y="1092473"/>
                  <a:pt x="1570351" y="770746"/>
                  <a:pt x="1930063" y="226441"/>
                </a:cubicBezTo>
                <a:cubicBezTo>
                  <a:pt x="1991742" y="133189"/>
                  <a:pt x="2074341" y="55626"/>
                  <a:pt x="2171284" y="-73"/>
                </a:cubicBezTo>
                <a:lnTo>
                  <a:pt x="2171284" y="2151329"/>
                </a:lnTo>
                <a:close/>
              </a:path>
            </a:pathLst>
          </a:custGeom>
          <a:solidFill>
            <a:schemeClr val="accent2"/>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634EFC9-9435-416F-9F71-9ACD804CE676}"/>
              </a:ext>
            </a:extLst>
          </p:cNvPr>
          <p:cNvSpPr/>
          <p:nvPr userDrawn="1"/>
        </p:nvSpPr>
        <p:spPr>
          <a:xfrm>
            <a:off x="1837820" y="5558043"/>
            <a:ext cx="1472118" cy="745100"/>
          </a:xfrm>
          <a:custGeom>
            <a:avLst/>
            <a:gdLst>
              <a:gd name="connsiteX0" fmla="*/ 2605793 w 2605792"/>
              <a:gd name="connsiteY0" fmla="*/ 1318898 h 1318898"/>
              <a:gd name="connsiteX1" fmla="*/ 2234098 w 2605792"/>
              <a:gd name="connsiteY1" fmla="*/ 663483 h 1318898"/>
              <a:gd name="connsiteX2" fmla="*/ 1862404 w 2605792"/>
              <a:gd name="connsiteY2" fmla="*/ 8058 h 1318898"/>
              <a:gd name="connsiteX3" fmla="*/ 1480642 w 2605792"/>
              <a:gd name="connsiteY3" fmla="*/ 657663 h 1318898"/>
              <a:gd name="connsiteX4" fmla="*/ 1305497 w 2605792"/>
              <a:gd name="connsiteY4" fmla="*/ 955691 h 1318898"/>
              <a:gd name="connsiteX5" fmla="*/ 1135218 w 2605792"/>
              <a:gd name="connsiteY5" fmla="*/ 655416 h 1318898"/>
              <a:gd name="connsiteX6" fmla="*/ 763524 w 2605792"/>
              <a:gd name="connsiteY6" fmla="*/ 0 h 1318898"/>
              <a:gd name="connsiteX7" fmla="*/ 381762 w 2605792"/>
              <a:gd name="connsiteY7" fmla="*/ 649605 h 1318898"/>
              <a:gd name="connsiteX8" fmla="*/ 0 w 2605792"/>
              <a:gd name="connsiteY8" fmla="*/ 1299210 h 1318898"/>
              <a:gd name="connsiteX9" fmla="*/ 753456 w 2605792"/>
              <a:gd name="connsiteY9" fmla="*/ 1305020 h 1318898"/>
              <a:gd name="connsiteX10" fmla="*/ 1506912 w 2605792"/>
              <a:gd name="connsiteY10" fmla="*/ 1310840 h 1318898"/>
              <a:gd name="connsiteX11" fmla="*/ 1506674 w 2605792"/>
              <a:gd name="connsiteY11" fmla="*/ 1310412 h 1318898"/>
              <a:gd name="connsiteX12" fmla="*/ 1852336 w 2605792"/>
              <a:gd name="connsiteY12" fmla="*/ 1313088 h 1318898"/>
              <a:gd name="connsiteX13" fmla="*/ 2605793 w 2605792"/>
              <a:gd name="connsiteY13" fmla="*/ 1318898 h 131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5792" h="1318898">
                <a:moveTo>
                  <a:pt x="2605793" y="1318898"/>
                </a:moveTo>
                <a:lnTo>
                  <a:pt x="2234098" y="663483"/>
                </a:lnTo>
                <a:lnTo>
                  <a:pt x="1862404" y="8058"/>
                </a:lnTo>
                <a:lnTo>
                  <a:pt x="1480642" y="657663"/>
                </a:lnTo>
                <a:lnTo>
                  <a:pt x="1305497" y="955691"/>
                </a:lnTo>
                <a:lnTo>
                  <a:pt x="1135218" y="655416"/>
                </a:lnTo>
                <a:lnTo>
                  <a:pt x="763524" y="0"/>
                </a:lnTo>
                <a:lnTo>
                  <a:pt x="381762" y="649605"/>
                </a:lnTo>
                <a:lnTo>
                  <a:pt x="0" y="1299210"/>
                </a:lnTo>
                <a:lnTo>
                  <a:pt x="753456" y="1305020"/>
                </a:lnTo>
                <a:lnTo>
                  <a:pt x="1506912" y="1310840"/>
                </a:lnTo>
                <a:lnTo>
                  <a:pt x="1506674" y="1310412"/>
                </a:lnTo>
                <a:lnTo>
                  <a:pt x="1852336" y="1313088"/>
                </a:lnTo>
                <a:lnTo>
                  <a:pt x="2605793" y="1318898"/>
                </a:lnTo>
                <a:close/>
              </a:path>
            </a:pathLst>
          </a:custGeom>
          <a:solidFill>
            <a:schemeClr val="accent1"/>
          </a:solidFill>
          <a:ln w="9525" cap="flat">
            <a:noFill/>
            <a:prstDash val="solid"/>
            <a:miter/>
          </a:ln>
        </p:spPr>
        <p:txBody>
          <a:bodyPr rtlCol="0" anchor="ctr"/>
          <a:lstStyle/>
          <a:p>
            <a:endParaRPr lang="en-US"/>
          </a:p>
        </p:txBody>
      </p:sp>
      <p:sp>
        <p:nvSpPr>
          <p:cNvPr id="24" name="Text Placeholder 23">
            <a:extLst>
              <a:ext uri="{FF2B5EF4-FFF2-40B4-BE49-F238E27FC236}">
                <a16:creationId xmlns:a16="http://schemas.microsoft.com/office/drawing/2014/main" id="{AF8B88C5-A0B4-414C-9D05-FA001AC5BF1B}"/>
              </a:ext>
            </a:extLst>
          </p:cNvPr>
          <p:cNvSpPr>
            <a:spLocks noGrp="1"/>
          </p:cNvSpPr>
          <p:nvPr>
            <p:ph type="body" sz="quarter" idx="10"/>
          </p:nvPr>
        </p:nvSpPr>
        <p:spPr>
          <a:xfrm>
            <a:off x="839788" y="3843053"/>
            <a:ext cx="10512425" cy="586071"/>
          </a:xfrm>
        </p:spPr>
        <p:txBody>
          <a:bodyPr>
            <a:normAutofit/>
          </a:bodyPr>
          <a:lstStyle>
            <a:lvl1pPr marL="0" indent="0" algn="ctr">
              <a:buNone/>
              <a:defRPr sz="2000" b="0">
                <a:solidFill>
                  <a:schemeClr val="tx1"/>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Tree>
    <p:extLst>
      <p:ext uri="{BB962C8B-B14F-4D97-AF65-F5344CB8AC3E}">
        <p14:creationId xmlns:p14="http://schemas.microsoft.com/office/powerpoint/2010/main" val="42305336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7212012"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7211218"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12169897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vslutning alternativ 2">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F8F0A41-A289-44BD-93D7-44141F13C11D}"/>
              </a:ext>
            </a:extLst>
          </p:cNvPr>
          <p:cNvSpPr/>
          <p:nvPr/>
        </p:nvSpPr>
        <p:spPr>
          <a:xfrm>
            <a:off x="9389087" y="1437505"/>
            <a:ext cx="990782" cy="1981623"/>
          </a:xfrm>
          <a:custGeom>
            <a:avLst/>
            <a:gdLst>
              <a:gd name="connsiteX0" fmla="*/ 1123191 w 1123226"/>
              <a:gd name="connsiteY0" fmla="*/ -73 h 2246518"/>
              <a:gd name="connsiteX1" fmla="*/ 1123191 w 1123226"/>
              <a:gd name="connsiteY1" fmla="*/ 2246446 h 2246518"/>
              <a:gd name="connsiteX2" fmla="*/ -36 w 1123226"/>
              <a:gd name="connsiteY2" fmla="*/ 1123220 h 2246518"/>
              <a:gd name="connsiteX3" fmla="*/ 1123191 w 1123226"/>
              <a:gd name="connsiteY3" fmla="*/ -7 h 2246518"/>
            </a:gdLst>
            <a:ahLst/>
            <a:cxnLst>
              <a:cxn ang="0">
                <a:pos x="connsiteX0" y="connsiteY0"/>
              </a:cxn>
              <a:cxn ang="0">
                <a:pos x="connsiteX1" y="connsiteY1"/>
              </a:cxn>
              <a:cxn ang="0">
                <a:pos x="connsiteX2" y="connsiteY2"/>
              </a:cxn>
              <a:cxn ang="0">
                <a:pos x="connsiteX3" y="connsiteY3"/>
              </a:cxn>
            </a:cxnLst>
            <a:rect l="l" t="t" r="r" b="b"/>
            <a:pathLst>
              <a:path w="1123226" h="2246518">
                <a:moveTo>
                  <a:pt x="1123191" y="-73"/>
                </a:moveTo>
                <a:lnTo>
                  <a:pt x="1123191" y="2246446"/>
                </a:lnTo>
                <a:cubicBezTo>
                  <a:pt x="502850" y="2246446"/>
                  <a:pt x="-36" y="1743560"/>
                  <a:pt x="-36" y="1123220"/>
                </a:cubicBezTo>
                <a:cubicBezTo>
                  <a:pt x="-36" y="502879"/>
                  <a:pt x="502850" y="-7"/>
                  <a:pt x="1123191" y="-7"/>
                </a:cubicBezTo>
                <a:close/>
              </a:path>
            </a:pathLst>
          </a:custGeom>
          <a:solidFill>
            <a:schemeClr val="accent2"/>
          </a:solidFill>
          <a:ln w="7144"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3289A2E8-3D65-441A-A338-504F33981BA4}"/>
              </a:ext>
            </a:extLst>
          </p:cNvPr>
          <p:cNvGrpSpPr/>
          <p:nvPr userDrawn="1"/>
        </p:nvGrpSpPr>
        <p:grpSpPr>
          <a:xfrm rot="5400000">
            <a:off x="9296572" y="1548758"/>
            <a:ext cx="431536" cy="1735057"/>
            <a:chOff x="11870514" y="244569"/>
            <a:chExt cx="151518" cy="609202"/>
          </a:xfrm>
          <a:solidFill>
            <a:schemeClr val="bg1"/>
          </a:solidFill>
        </p:grpSpPr>
        <p:sp>
          <p:nvSpPr>
            <p:cNvPr id="16" name="Freeform: Shape 15">
              <a:extLst>
                <a:ext uri="{FF2B5EF4-FFF2-40B4-BE49-F238E27FC236}">
                  <a16:creationId xmlns:a16="http://schemas.microsoft.com/office/drawing/2014/main" id="{5402AC29-8A61-4CA4-8CB8-4BC3EC56A3B9}"/>
                </a:ext>
              </a:extLst>
            </p:cNvPr>
            <p:cNvSpPr/>
            <p:nvPr/>
          </p:nvSpPr>
          <p:spPr>
            <a:xfrm rot="16200000">
              <a:off x="11641672" y="473411"/>
              <a:ext cx="609202" cy="151518"/>
            </a:xfrm>
            <a:custGeom>
              <a:avLst/>
              <a:gdLst>
                <a:gd name="connsiteX0" fmla="*/ 413946 w 609202"/>
                <a:gd name="connsiteY0" fmla="*/ 49664 h 151518"/>
                <a:gd name="connsiteX1" fmla="*/ 384494 w 609202"/>
                <a:gd name="connsiteY1" fmla="*/ 125217 h 151518"/>
                <a:gd name="connsiteX2" fmla="*/ 354820 w 609202"/>
                <a:gd name="connsiteY2" fmla="*/ 49664 h 151518"/>
                <a:gd name="connsiteX3" fmla="*/ 331666 w 609202"/>
                <a:gd name="connsiteY3" fmla="*/ 49664 h 151518"/>
                <a:gd name="connsiteX4" fmla="*/ 372910 w 609202"/>
                <a:gd name="connsiteY4" fmla="*/ 147314 h 151518"/>
                <a:gd name="connsiteX5" fmla="*/ 393955 w 609202"/>
                <a:gd name="connsiteY5" fmla="*/ 147314 h 151518"/>
                <a:gd name="connsiteX6" fmla="*/ 435214 w 609202"/>
                <a:gd name="connsiteY6" fmla="*/ 49665 h 151518"/>
                <a:gd name="connsiteX7" fmla="*/ 297359 w 609202"/>
                <a:gd name="connsiteY7" fmla="*/ 49664 h 151518"/>
                <a:gd name="connsiteX8" fmla="*/ 297359 w 609202"/>
                <a:gd name="connsiteY8" fmla="*/ 101215 h 151518"/>
                <a:gd name="connsiteX9" fmla="*/ 272528 w 609202"/>
                <a:gd name="connsiteY9" fmla="*/ 130474 h 151518"/>
                <a:gd name="connsiteX10" fmla="*/ 247695 w 609202"/>
                <a:gd name="connsiteY10" fmla="*/ 101215 h 151518"/>
                <a:gd name="connsiteX11" fmla="*/ 247695 w 609202"/>
                <a:gd name="connsiteY11" fmla="*/ 49664 h 151518"/>
                <a:gd name="connsiteX12" fmla="*/ 227067 w 609202"/>
                <a:gd name="connsiteY12" fmla="*/ 49664 h 151518"/>
                <a:gd name="connsiteX13" fmla="*/ 227067 w 609202"/>
                <a:gd name="connsiteY13" fmla="*/ 102060 h 151518"/>
                <a:gd name="connsiteX14" fmla="*/ 272528 w 609202"/>
                <a:gd name="connsiteY14" fmla="*/ 149408 h 151518"/>
                <a:gd name="connsiteX15" fmla="*/ 317989 w 609202"/>
                <a:gd name="connsiteY15" fmla="*/ 102060 h 151518"/>
                <a:gd name="connsiteX16" fmla="*/ 317989 w 609202"/>
                <a:gd name="connsiteY16" fmla="*/ 49664 h 151518"/>
                <a:gd name="connsiteX17" fmla="*/ 162877 w 609202"/>
                <a:gd name="connsiteY17" fmla="*/ 47347 h 151518"/>
                <a:gd name="connsiteX18" fmla="*/ 140599 w 609202"/>
                <a:gd name="connsiteY18" fmla="*/ 52442 h 151518"/>
                <a:gd name="connsiteX19" fmla="*/ 112797 w 609202"/>
                <a:gd name="connsiteY19" fmla="*/ 97428 h 151518"/>
                <a:gd name="connsiteX20" fmla="*/ 156150 w 609202"/>
                <a:gd name="connsiteY20" fmla="*/ 151519 h 151518"/>
                <a:gd name="connsiteX21" fmla="*/ 168567 w 609202"/>
                <a:gd name="connsiteY21" fmla="*/ 144568 h 151518"/>
                <a:gd name="connsiteX22" fmla="*/ 197603 w 609202"/>
                <a:gd name="connsiteY22" fmla="*/ 119528 h 151518"/>
                <a:gd name="connsiteX23" fmla="*/ 212335 w 609202"/>
                <a:gd name="connsiteY23" fmla="*/ 96596 h 151518"/>
                <a:gd name="connsiteX24" fmla="*/ 162879 w 609202"/>
                <a:gd name="connsiteY24" fmla="*/ 47348 h 151518"/>
                <a:gd name="connsiteX25" fmla="*/ 184768 w 609202"/>
                <a:gd name="connsiteY25" fmla="*/ 112799 h 151518"/>
                <a:gd name="connsiteX26" fmla="*/ 168567 w 609202"/>
                <a:gd name="connsiteY26" fmla="*/ 129419 h 151518"/>
                <a:gd name="connsiteX27" fmla="*/ 161200 w 609202"/>
                <a:gd name="connsiteY27" fmla="*/ 133844 h 151518"/>
                <a:gd name="connsiteX28" fmla="*/ 132373 w 609202"/>
                <a:gd name="connsiteY28" fmla="*/ 100591 h 151518"/>
                <a:gd name="connsiteX29" fmla="*/ 162671 w 609202"/>
                <a:gd name="connsiteY29" fmla="*/ 70070 h 151518"/>
                <a:gd name="connsiteX30" fmla="*/ 192557 w 609202"/>
                <a:gd name="connsiteY30" fmla="*/ 100182 h 151518"/>
                <a:gd name="connsiteX31" fmla="*/ 192557 w 609202"/>
                <a:gd name="connsiteY31" fmla="*/ 100182 h 151518"/>
                <a:gd name="connsiteX32" fmla="*/ 192553 w 609202"/>
                <a:gd name="connsiteY32" fmla="*/ 100589 h 151518"/>
                <a:gd name="connsiteX33" fmla="*/ 184772 w 609202"/>
                <a:gd name="connsiteY33" fmla="*/ 112797 h 151518"/>
                <a:gd name="connsiteX34" fmla="*/ 51342 w 609202"/>
                <a:gd name="connsiteY34" fmla="*/ 47347 h 151518"/>
                <a:gd name="connsiteX35" fmla="*/ 20198 w 609202"/>
                <a:gd name="connsiteY35" fmla="*/ 59555 h 151518"/>
                <a:gd name="connsiteX36" fmla="*/ 19991 w 609202"/>
                <a:gd name="connsiteY36" fmla="*/ 0 h 151518"/>
                <a:gd name="connsiteX37" fmla="*/ 0 w 609202"/>
                <a:gd name="connsiteY37" fmla="*/ 0 h 151518"/>
                <a:gd name="connsiteX38" fmla="*/ 0 w 609202"/>
                <a:gd name="connsiteY38" fmla="*/ 147315 h 151518"/>
                <a:gd name="connsiteX39" fmla="*/ 20630 w 609202"/>
                <a:gd name="connsiteY39" fmla="*/ 147315 h 151518"/>
                <a:gd name="connsiteX40" fmla="*/ 20630 w 609202"/>
                <a:gd name="connsiteY40" fmla="*/ 137422 h 151518"/>
                <a:gd name="connsiteX41" fmla="*/ 51344 w 609202"/>
                <a:gd name="connsiteY41" fmla="*/ 149200 h 151518"/>
                <a:gd name="connsiteX42" fmla="*/ 100175 w 609202"/>
                <a:gd name="connsiteY42" fmla="*/ 98273 h 151518"/>
                <a:gd name="connsiteX43" fmla="*/ 51342 w 609202"/>
                <a:gd name="connsiteY43" fmla="*/ 47347 h 151518"/>
                <a:gd name="connsiteX44" fmla="*/ 49664 w 609202"/>
                <a:gd name="connsiteY44" fmla="*/ 130266 h 151518"/>
                <a:gd name="connsiteX45" fmla="*/ 20198 w 609202"/>
                <a:gd name="connsiteY45" fmla="*/ 98275 h 151518"/>
                <a:gd name="connsiteX46" fmla="*/ 49664 w 609202"/>
                <a:gd name="connsiteY46" fmla="*/ 66284 h 151518"/>
                <a:gd name="connsiteX47" fmla="*/ 79131 w 609202"/>
                <a:gd name="connsiteY47" fmla="*/ 98276 h 151518"/>
                <a:gd name="connsiteX48" fmla="*/ 49662 w 609202"/>
                <a:gd name="connsiteY48" fmla="*/ 130264 h 151518"/>
                <a:gd name="connsiteX49" fmla="*/ 609203 w 609202"/>
                <a:gd name="connsiteY49" fmla="*/ 49664 h 151518"/>
                <a:gd name="connsiteX50" fmla="*/ 579321 w 609202"/>
                <a:gd name="connsiteY50" fmla="*/ 49664 h 151518"/>
                <a:gd name="connsiteX51" fmla="*/ 579099 w 609202"/>
                <a:gd name="connsiteY51" fmla="*/ 0 h 151518"/>
                <a:gd name="connsiteX52" fmla="*/ 559107 w 609202"/>
                <a:gd name="connsiteY52" fmla="*/ 0 h 151518"/>
                <a:gd name="connsiteX53" fmla="*/ 559107 w 609202"/>
                <a:gd name="connsiteY53" fmla="*/ 49664 h 151518"/>
                <a:gd name="connsiteX54" fmla="*/ 545369 w 609202"/>
                <a:gd name="connsiteY54" fmla="*/ 49664 h 151518"/>
                <a:gd name="connsiteX55" fmla="*/ 545369 w 609202"/>
                <a:gd name="connsiteY55" fmla="*/ 67545 h 151518"/>
                <a:gd name="connsiteX56" fmla="*/ 559107 w 609202"/>
                <a:gd name="connsiteY56" fmla="*/ 67545 h 151518"/>
                <a:gd name="connsiteX57" fmla="*/ 559107 w 609202"/>
                <a:gd name="connsiteY57" fmla="*/ 147314 h 151518"/>
                <a:gd name="connsiteX58" fmla="*/ 579529 w 609202"/>
                <a:gd name="connsiteY58" fmla="*/ 147314 h 151518"/>
                <a:gd name="connsiteX59" fmla="*/ 579321 w 609202"/>
                <a:gd name="connsiteY59" fmla="*/ 67545 h 151518"/>
                <a:gd name="connsiteX60" fmla="*/ 609203 w 609202"/>
                <a:gd name="connsiteY60" fmla="*/ 67545 h 15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9202" h="151518">
                  <a:moveTo>
                    <a:pt x="413946" y="49664"/>
                  </a:moveTo>
                  <a:lnTo>
                    <a:pt x="384494" y="125217"/>
                  </a:lnTo>
                  <a:lnTo>
                    <a:pt x="354820" y="49664"/>
                  </a:lnTo>
                  <a:lnTo>
                    <a:pt x="331666" y="49664"/>
                  </a:lnTo>
                  <a:lnTo>
                    <a:pt x="372910" y="147314"/>
                  </a:lnTo>
                  <a:lnTo>
                    <a:pt x="393955" y="147314"/>
                  </a:lnTo>
                  <a:lnTo>
                    <a:pt x="435214" y="49665"/>
                  </a:lnTo>
                  <a:close/>
                  <a:moveTo>
                    <a:pt x="297359" y="49664"/>
                  </a:moveTo>
                  <a:lnTo>
                    <a:pt x="297359" y="101215"/>
                  </a:lnTo>
                  <a:cubicBezTo>
                    <a:pt x="297359" y="119735"/>
                    <a:pt x="288314" y="130474"/>
                    <a:pt x="272528" y="130474"/>
                  </a:cubicBezTo>
                  <a:cubicBezTo>
                    <a:pt x="256742" y="130474"/>
                    <a:pt x="247695" y="119735"/>
                    <a:pt x="247695" y="101215"/>
                  </a:cubicBezTo>
                  <a:lnTo>
                    <a:pt x="247695" y="49664"/>
                  </a:lnTo>
                  <a:lnTo>
                    <a:pt x="227067" y="49664"/>
                  </a:lnTo>
                  <a:lnTo>
                    <a:pt x="227067" y="102060"/>
                  </a:lnTo>
                  <a:cubicBezTo>
                    <a:pt x="227067" y="131111"/>
                    <a:pt x="244533" y="149408"/>
                    <a:pt x="272528" y="149408"/>
                  </a:cubicBezTo>
                  <a:cubicBezTo>
                    <a:pt x="300523" y="149408"/>
                    <a:pt x="317989" y="131111"/>
                    <a:pt x="317989" y="102060"/>
                  </a:cubicBezTo>
                  <a:lnTo>
                    <a:pt x="317989" y="49664"/>
                  </a:lnTo>
                  <a:close/>
                  <a:moveTo>
                    <a:pt x="162877" y="47347"/>
                  </a:moveTo>
                  <a:cubicBezTo>
                    <a:pt x="155160" y="47330"/>
                    <a:pt x="147541" y="49072"/>
                    <a:pt x="140599" y="52442"/>
                  </a:cubicBezTo>
                  <a:cubicBezTo>
                    <a:pt x="123437" y="60827"/>
                    <a:pt x="112621" y="78328"/>
                    <a:pt x="112797" y="97428"/>
                  </a:cubicBezTo>
                  <a:cubicBezTo>
                    <a:pt x="112797" y="122482"/>
                    <a:pt x="136159" y="151519"/>
                    <a:pt x="156150" y="151519"/>
                  </a:cubicBezTo>
                  <a:cubicBezTo>
                    <a:pt x="161205" y="151479"/>
                    <a:pt x="165890" y="148857"/>
                    <a:pt x="168567" y="144568"/>
                  </a:cubicBezTo>
                  <a:cubicBezTo>
                    <a:pt x="176781" y="132150"/>
                    <a:pt x="185200" y="125009"/>
                    <a:pt x="197603" y="119528"/>
                  </a:cubicBezTo>
                  <a:cubicBezTo>
                    <a:pt x="209187" y="114478"/>
                    <a:pt x="212335" y="109428"/>
                    <a:pt x="212335" y="96596"/>
                  </a:cubicBezTo>
                  <a:cubicBezTo>
                    <a:pt x="212335" y="68809"/>
                    <a:pt x="190667" y="47348"/>
                    <a:pt x="162879" y="47348"/>
                  </a:cubicBezTo>
                  <a:close/>
                  <a:moveTo>
                    <a:pt x="184768" y="112799"/>
                  </a:moveTo>
                  <a:cubicBezTo>
                    <a:pt x="176348" y="118057"/>
                    <a:pt x="171938" y="122483"/>
                    <a:pt x="168567" y="129419"/>
                  </a:cubicBezTo>
                  <a:cubicBezTo>
                    <a:pt x="167173" y="132194"/>
                    <a:pt x="164305" y="133917"/>
                    <a:pt x="161200" y="133844"/>
                  </a:cubicBezTo>
                  <a:cubicBezTo>
                    <a:pt x="147729" y="133844"/>
                    <a:pt x="132373" y="116156"/>
                    <a:pt x="132373" y="100591"/>
                  </a:cubicBezTo>
                  <a:cubicBezTo>
                    <a:pt x="132373" y="83125"/>
                    <a:pt x="145204" y="70070"/>
                    <a:pt x="162671" y="70070"/>
                  </a:cubicBezTo>
                  <a:cubicBezTo>
                    <a:pt x="179239" y="70133"/>
                    <a:pt x="192619" y="83614"/>
                    <a:pt x="192557" y="100182"/>
                  </a:cubicBezTo>
                  <a:lnTo>
                    <a:pt x="192557" y="100182"/>
                  </a:lnTo>
                  <a:cubicBezTo>
                    <a:pt x="192556" y="100317"/>
                    <a:pt x="192554" y="100452"/>
                    <a:pt x="192553" y="100589"/>
                  </a:cubicBezTo>
                  <a:cubicBezTo>
                    <a:pt x="192553" y="106053"/>
                    <a:pt x="190667" y="109217"/>
                    <a:pt x="184772" y="112797"/>
                  </a:cubicBezTo>
                  <a:close/>
                  <a:moveTo>
                    <a:pt x="51342" y="47347"/>
                  </a:moveTo>
                  <a:cubicBezTo>
                    <a:pt x="39770" y="47223"/>
                    <a:pt x="28603" y="51600"/>
                    <a:pt x="20198" y="59555"/>
                  </a:cubicBezTo>
                  <a:lnTo>
                    <a:pt x="19991" y="0"/>
                  </a:lnTo>
                  <a:lnTo>
                    <a:pt x="0" y="0"/>
                  </a:lnTo>
                  <a:lnTo>
                    <a:pt x="0" y="147315"/>
                  </a:lnTo>
                  <a:lnTo>
                    <a:pt x="20630" y="147315"/>
                  </a:lnTo>
                  <a:lnTo>
                    <a:pt x="20630" y="137422"/>
                  </a:lnTo>
                  <a:cubicBezTo>
                    <a:pt x="29061" y="145007"/>
                    <a:pt x="40002" y="149203"/>
                    <a:pt x="51344" y="149200"/>
                  </a:cubicBezTo>
                  <a:cubicBezTo>
                    <a:pt x="79130" y="149200"/>
                    <a:pt x="100175" y="127100"/>
                    <a:pt x="100175" y="98273"/>
                  </a:cubicBezTo>
                  <a:cubicBezTo>
                    <a:pt x="100175" y="69445"/>
                    <a:pt x="79130" y="47347"/>
                    <a:pt x="51342" y="47347"/>
                  </a:cubicBezTo>
                  <a:close/>
                  <a:moveTo>
                    <a:pt x="49664" y="130266"/>
                  </a:moveTo>
                  <a:cubicBezTo>
                    <a:pt x="32822" y="130266"/>
                    <a:pt x="20198" y="116587"/>
                    <a:pt x="20198" y="98275"/>
                  </a:cubicBezTo>
                  <a:cubicBezTo>
                    <a:pt x="20198" y="79962"/>
                    <a:pt x="32822" y="66284"/>
                    <a:pt x="49664" y="66284"/>
                  </a:cubicBezTo>
                  <a:cubicBezTo>
                    <a:pt x="66505" y="66284"/>
                    <a:pt x="79131" y="79962"/>
                    <a:pt x="79131" y="98276"/>
                  </a:cubicBezTo>
                  <a:cubicBezTo>
                    <a:pt x="79131" y="116590"/>
                    <a:pt x="66505" y="130264"/>
                    <a:pt x="49662" y="130264"/>
                  </a:cubicBezTo>
                  <a:close/>
                  <a:moveTo>
                    <a:pt x="609203" y="49664"/>
                  </a:moveTo>
                  <a:lnTo>
                    <a:pt x="579321" y="49664"/>
                  </a:lnTo>
                  <a:lnTo>
                    <a:pt x="579099" y="0"/>
                  </a:lnTo>
                  <a:lnTo>
                    <a:pt x="559107" y="0"/>
                  </a:lnTo>
                  <a:lnTo>
                    <a:pt x="559107" y="49664"/>
                  </a:lnTo>
                  <a:lnTo>
                    <a:pt x="545369" y="49664"/>
                  </a:lnTo>
                  <a:lnTo>
                    <a:pt x="545369" y="67545"/>
                  </a:lnTo>
                  <a:lnTo>
                    <a:pt x="559107" y="67545"/>
                  </a:lnTo>
                  <a:lnTo>
                    <a:pt x="559107" y="147314"/>
                  </a:lnTo>
                  <a:lnTo>
                    <a:pt x="579529" y="147314"/>
                  </a:lnTo>
                  <a:lnTo>
                    <a:pt x="579321" y="67545"/>
                  </a:lnTo>
                  <a:lnTo>
                    <a:pt x="609203" y="67545"/>
                  </a:lnTo>
                  <a:close/>
                </a:path>
              </a:pathLst>
            </a:custGeom>
            <a:grpFill/>
            <a:ln w="26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CE4A25F-66AD-4588-A78A-F5842EE74531}"/>
                </a:ext>
              </a:extLst>
            </p:cNvPr>
            <p:cNvSpPr/>
            <p:nvPr/>
          </p:nvSpPr>
          <p:spPr>
            <a:xfrm rot="16200000">
              <a:off x="11921301" y="313678"/>
              <a:ext cx="96119" cy="101875"/>
            </a:xfrm>
            <a:custGeom>
              <a:avLst/>
              <a:gdLst>
                <a:gd name="connsiteX0" fmla="*/ 95810 w 96119"/>
                <a:gd name="connsiteY0" fmla="*/ 56965 h 101875"/>
                <a:gd name="connsiteX1" fmla="*/ 20362 w 96119"/>
                <a:gd name="connsiteY1" fmla="*/ 56965 h 101875"/>
                <a:gd name="connsiteX2" fmla="*/ 34212 w 96119"/>
                <a:gd name="connsiteY2" fmla="*/ 79118 h 101875"/>
                <a:gd name="connsiteX3" fmla="*/ 48915 w 96119"/>
                <a:gd name="connsiteY3" fmla="*/ 82727 h 101875"/>
                <a:gd name="connsiteX4" fmla="*/ 73366 w 96119"/>
                <a:gd name="connsiteY4" fmla="*/ 75426 h 101875"/>
                <a:gd name="connsiteX5" fmla="*/ 79556 w 96119"/>
                <a:gd name="connsiteY5" fmla="*/ 69472 h 101875"/>
                <a:gd name="connsiteX6" fmla="*/ 93354 w 96119"/>
                <a:gd name="connsiteY6" fmla="*/ 82930 h 101875"/>
                <a:gd name="connsiteX7" fmla="*/ 83867 w 96119"/>
                <a:gd name="connsiteY7" fmla="*/ 91638 h 101875"/>
                <a:gd name="connsiteX8" fmla="*/ 46091 w 96119"/>
                <a:gd name="connsiteY8" fmla="*/ 101759 h 101875"/>
                <a:gd name="connsiteX9" fmla="*/ 16168 w 96119"/>
                <a:gd name="connsiteY9" fmla="*/ 89716 h 101875"/>
                <a:gd name="connsiteX10" fmla="*/ 506 w 96119"/>
                <a:gd name="connsiteY10" fmla="*/ 58160 h 101875"/>
                <a:gd name="connsiteX11" fmla="*/ 5248 w 96119"/>
                <a:gd name="connsiteY11" fmla="*/ 26756 h 101875"/>
                <a:gd name="connsiteX12" fmla="*/ 40827 w 96119"/>
                <a:gd name="connsiteY12" fmla="*/ 738 h 101875"/>
                <a:gd name="connsiteX13" fmla="*/ 70343 w 96119"/>
                <a:gd name="connsiteY13" fmla="*/ 4817 h 101875"/>
                <a:gd name="connsiteX14" fmla="*/ 94209 w 96119"/>
                <a:gd name="connsiteY14" fmla="*/ 35590 h 101875"/>
                <a:gd name="connsiteX15" fmla="*/ 95810 w 96119"/>
                <a:gd name="connsiteY15" fmla="*/ 56965 h 101875"/>
                <a:gd name="connsiteX16" fmla="*/ 20776 w 96119"/>
                <a:gd name="connsiteY16" fmla="*/ 40423 h 101875"/>
                <a:gd name="connsiteX17" fmla="*/ 74793 w 96119"/>
                <a:gd name="connsiteY17" fmla="*/ 40423 h 101875"/>
                <a:gd name="connsiteX18" fmla="*/ 50253 w 96119"/>
                <a:gd name="connsiteY18" fmla="*/ 17857 h 101875"/>
                <a:gd name="connsiteX19" fmla="*/ 20776 w 96119"/>
                <a:gd name="connsiteY19" fmla="*/ 40423 h 1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119" h="101875">
                  <a:moveTo>
                    <a:pt x="95810" y="56965"/>
                  </a:moveTo>
                  <a:lnTo>
                    <a:pt x="20362" y="56965"/>
                  </a:lnTo>
                  <a:cubicBezTo>
                    <a:pt x="21886" y="66442"/>
                    <a:pt x="25653" y="74318"/>
                    <a:pt x="34212" y="79118"/>
                  </a:cubicBezTo>
                  <a:cubicBezTo>
                    <a:pt x="38729" y="81545"/>
                    <a:pt x="43788" y="82786"/>
                    <a:pt x="48915" y="82727"/>
                  </a:cubicBezTo>
                  <a:cubicBezTo>
                    <a:pt x="57811" y="82850"/>
                    <a:pt x="66195" y="81075"/>
                    <a:pt x="73366" y="75426"/>
                  </a:cubicBezTo>
                  <a:cubicBezTo>
                    <a:pt x="75532" y="73550"/>
                    <a:pt x="77598" y="71563"/>
                    <a:pt x="79556" y="69472"/>
                  </a:cubicBezTo>
                  <a:lnTo>
                    <a:pt x="93354" y="82930"/>
                  </a:lnTo>
                  <a:cubicBezTo>
                    <a:pt x="90598" y="86246"/>
                    <a:pt x="87407" y="89175"/>
                    <a:pt x="83867" y="91638"/>
                  </a:cubicBezTo>
                  <a:cubicBezTo>
                    <a:pt x="72486" y="99593"/>
                    <a:pt x="59751" y="102519"/>
                    <a:pt x="46091" y="101759"/>
                  </a:cubicBezTo>
                  <a:cubicBezTo>
                    <a:pt x="35014" y="101373"/>
                    <a:pt x="24424" y="97111"/>
                    <a:pt x="16168" y="89716"/>
                  </a:cubicBezTo>
                  <a:cubicBezTo>
                    <a:pt x="6826" y="81316"/>
                    <a:pt x="1889" y="70591"/>
                    <a:pt x="506" y="58160"/>
                  </a:cubicBezTo>
                  <a:cubicBezTo>
                    <a:pt x="-933" y="47454"/>
                    <a:pt x="712" y="36560"/>
                    <a:pt x="5248" y="26756"/>
                  </a:cubicBezTo>
                  <a:cubicBezTo>
                    <a:pt x="12466" y="11681"/>
                    <a:pt x="24591" y="3239"/>
                    <a:pt x="40827" y="738"/>
                  </a:cubicBezTo>
                  <a:cubicBezTo>
                    <a:pt x="50850" y="-1030"/>
                    <a:pt x="61175" y="397"/>
                    <a:pt x="70343" y="4817"/>
                  </a:cubicBezTo>
                  <a:cubicBezTo>
                    <a:pt x="83187" y="11156"/>
                    <a:pt x="90642" y="21889"/>
                    <a:pt x="94209" y="35590"/>
                  </a:cubicBezTo>
                  <a:cubicBezTo>
                    <a:pt x="95990" y="42566"/>
                    <a:pt x="96532" y="49801"/>
                    <a:pt x="95810" y="56965"/>
                  </a:cubicBezTo>
                  <a:close/>
                  <a:moveTo>
                    <a:pt x="20776" y="40423"/>
                  </a:moveTo>
                  <a:lnTo>
                    <a:pt x="74793" y="40423"/>
                  </a:lnTo>
                  <a:cubicBezTo>
                    <a:pt x="73059" y="28002"/>
                    <a:pt x="62776" y="18546"/>
                    <a:pt x="50253" y="17857"/>
                  </a:cubicBezTo>
                  <a:cubicBezTo>
                    <a:pt x="34544" y="16956"/>
                    <a:pt x="23456" y="25443"/>
                    <a:pt x="20776" y="40423"/>
                  </a:cubicBezTo>
                  <a:close/>
                </a:path>
              </a:pathLst>
            </a:custGeom>
            <a:grpFill/>
            <a:ln w="264" cap="flat">
              <a:noFill/>
              <a:prstDash val="solid"/>
              <a:miter/>
            </a:ln>
          </p:spPr>
          <p:txBody>
            <a:bodyPr rtlCol="0" anchor="ctr"/>
            <a:lstStyle/>
            <a:p>
              <a:endParaRPr lang="en-US"/>
            </a:p>
          </p:txBody>
        </p:sp>
      </p:grpSp>
      <p:sp>
        <p:nvSpPr>
          <p:cNvPr id="12" name="Freeform: Shape 11">
            <a:extLst>
              <a:ext uri="{FF2B5EF4-FFF2-40B4-BE49-F238E27FC236}">
                <a16:creationId xmlns:a16="http://schemas.microsoft.com/office/drawing/2014/main" id="{7E9E5F7C-935D-44AE-B4D7-F96F0E923750}"/>
              </a:ext>
            </a:extLst>
          </p:cNvPr>
          <p:cNvSpPr/>
          <p:nvPr/>
        </p:nvSpPr>
        <p:spPr>
          <a:xfrm>
            <a:off x="9732645" y="4429125"/>
            <a:ext cx="1483339" cy="1469731"/>
          </a:xfrm>
          <a:custGeom>
            <a:avLst/>
            <a:gdLst>
              <a:gd name="connsiteX0" fmla="*/ -36 w 2171319"/>
              <a:gd name="connsiteY0" fmla="*/ 2151329 h 2151402"/>
              <a:gd name="connsiteX1" fmla="*/ 641949 w 2171319"/>
              <a:gd name="connsiteY1" fmla="*/ 1337313 h 2151402"/>
              <a:gd name="connsiteX2" fmla="*/ 1930063 w 2171319"/>
              <a:gd name="connsiteY2" fmla="*/ 226441 h 2151402"/>
              <a:gd name="connsiteX3" fmla="*/ 2171284 w 2171319"/>
              <a:gd name="connsiteY3" fmla="*/ -73 h 2151402"/>
              <a:gd name="connsiteX4" fmla="*/ 2171284 w 2171319"/>
              <a:gd name="connsiteY4" fmla="*/ 2151329 h 2151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319" h="2151402">
                <a:moveTo>
                  <a:pt x="-36" y="2151329"/>
                </a:moveTo>
                <a:cubicBezTo>
                  <a:pt x="32854" y="1733029"/>
                  <a:pt x="189636" y="1534661"/>
                  <a:pt x="641949" y="1337313"/>
                </a:cubicBezTo>
                <a:cubicBezTo>
                  <a:pt x="1197057" y="1092473"/>
                  <a:pt x="1570351" y="770746"/>
                  <a:pt x="1930063" y="226441"/>
                </a:cubicBezTo>
                <a:cubicBezTo>
                  <a:pt x="1991742" y="133189"/>
                  <a:pt x="2074341" y="55626"/>
                  <a:pt x="2171284" y="-73"/>
                </a:cubicBezTo>
                <a:lnTo>
                  <a:pt x="2171284" y="2151329"/>
                </a:lnTo>
                <a:close/>
              </a:path>
            </a:pathLst>
          </a:custGeom>
          <a:solidFill>
            <a:schemeClr val="accent3"/>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634EFC9-9435-416F-9F71-9ACD804CE676}"/>
              </a:ext>
            </a:extLst>
          </p:cNvPr>
          <p:cNvSpPr/>
          <p:nvPr userDrawn="1"/>
        </p:nvSpPr>
        <p:spPr>
          <a:xfrm>
            <a:off x="1837820" y="5558043"/>
            <a:ext cx="1472118" cy="745100"/>
          </a:xfrm>
          <a:custGeom>
            <a:avLst/>
            <a:gdLst>
              <a:gd name="connsiteX0" fmla="*/ 2605793 w 2605792"/>
              <a:gd name="connsiteY0" fmla="*/ 1318898 h 1318898"/>
              <a:gd name="connsiteX1" fmla="*/ 2234098 w 2605792"/>
              <a:gd name="connsiteY1" fmla="*/ 663483 h 1318898"/>
              <a:gd name="connsiteX2" fmla="*/ 1862404 w 2605792"/>
              <a:gd name="connsiteY2" fmla="*/ 8058 h 1318898"/>
              <a:gd name="connsiteX3" fmla="*/ 1480642 w 2605792"/>
              <a:gd name="connsiteY3" fmla="*/ 657663 h 1318898"/>
              <a:gd name="connsiteX4" fmla="*/ 1305497 w 2605792"/>
              <a:gd name="connsiteY4" fmla="*/ 955691 h 1318898"/>
              <a:gd name="connsiteX5" fmla="*/ 1135218 w 2605792"/>
              <a:gd name="connsiteY5" fmla="*/ 655416 h 1318898"/>
              <a:gd name="connsiteX6" fmla="*/ 763524 w 2605792"/>
              <a:gd name="connsiteY6" fmla="*/ 0 h 1318898"/>
              <a:gd name="connsiteX7" fmla="*/ 381762 w 2605792"/>
              <a:gd name="connsiteY7" fmla="*/ 649605 h 1318898"/>
              <a:gd name="connsiteX8" fmla="*/ 0 w 2605792"/>
              <a:gd name="connsiteY8" fmla="*/ 1299210 h 1318898"/>
              <a:gd name="connsiteX9" fmla="*/ 753456 w 2605792"/>
              <a:gd name="connsiteY9" fmla="*/ 1305020 h 1318898"/>
              <a:gd name="connsiteX10" fmla="*/ 1506912 w 2605792"/>
              <a:gd name="connsiteY10" fmla="*/ 1310840 h 1318898"/>
              <a:gd name="connsiteX11" fmla="*/ 1506674 w 2605792"/>
              <a:gd name="connsiteY11" fmla="*/ 1310412 h 1318898"/>
              <a:gd name="connsiteX12" fmla="*/ 1852336 w 2605792"/>
              <a:gd name="connsiteY12" fmla="*/ 1313088 h 1318898"/>
              <a:gd name="connsiteX13" fmla="*/ 2605793 w 2605792"/>
              <a:gd name="connsiteY13" fmla="*/ 1318898 h 131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5792" h="1318898">
                <a:moveTo>
                  <a:pt x="2605793" y="1318898"/>
                </a:moveTo>
                <a:lnTo>
                  <a:pt x="2234098" y="663483"/>
                </a:lnTo>
                <a:lnTo>
                  <a:pt x="1862404" y="8058"/>
                </a:lnTo>
                <a:lnTo>
                  <a:pt x="1480642" y="657663"/>
                </a:lnTo>
                <a:lnTo>
                  <a:pt x="1305497" y="955691"/>
                </a:lnTo>
                <a:lnTo>
                  <a:pt x="1135218" y="655416"/>
                </a:lnTo>
                <a:lnTo>
                  <a:pt x="763524" y="0"/>
                </a:lnTo>
                <a:lnTo>
                  <a:pt x="381762" y="649605"/>
                </a:lnTo>
                <a:lnTo>
                  <a:pt x="0" y="1299210"/>
                </a:lnTo>
                <a:lnTo>
                  <a:pt x="753456" y="1305020"/>
                </a:lnTo>
                <a:lnTo>
                  <a:pt x="1506912" y="1310840"/>
                </a:lnTo>
                <a:lnTo>
                  <a:pt x="1506674" y="1310412"/>
                </a:lnTo>
                <a:lnTo>
                  <a:pt x="1852336" y="1313088"/>
                </a:lnTo>
                <a:lnTo>
                  <a:pt x="2605793" y="1318898"/>
                </a:lnTo>
                <a:close/>
              </a:path>
            </a:pathLst>
          </a:custGeom>
          <a:solidFill>
            <a:schemeClr val="accent1"/>
          </a:solidFill>
          <a:ln w="9525" cap="flat">
            <a:noFill/>
            <a:prstDash val="solid"/>
            <a:miter/>
          </a:ln>
        </p:spPr>
        <p:txBody>
          <a:bodyPr rtlCol="0" anchor="ctr"/>
          <a:lstStyle/>
          <a:p>
            <a:endParaRPr lang="en-US"/>
          </a:p>
        </p:txBody>
      </p:sp>
      <p:sp>
        <p:nvSpPr>
          <p:cNvPr id="24" name="Text Placeholder 23">
            <a:extLst>
              <a:ext uri="{FF2B5EF4-FFF2-40B4-BE49-F238E27FC236}">
                <a16:creationId xmlns:a16="http://schemas.microsoft.com/office/drawing/2014/main" id="{AF8B88C5-A0B4-414C-9D05-FA001AC5BF1B}"/>
              </a:ext>
            </a:extLst>
          </p:cNvPr>
          <p:cNvSpPr>
            <a:spLocks noGrp="1"/>
          </p:cNvSpPr>
          <p:nvPr>
            <p:ph type="body" sz="quarter" idx="10"/>
          </p:nvPr>
        </p:nvSpPr>
        <p:spPr>
          <a:xfrm>
            <a:off x="839788" y="3843053"/>
            <a:ext cx="10512425" cy="586071"/>
          </a:xfrm>
        </p:spPr>
        <p:txBody>
          <a:bodyPr>
            <a:normAutofit/>
          </a:bodyPr>
          <a:lstStyle>
            <a:lvl1pPr marL="0" indent="0" algn="ctr">
              <a:buNone/>
              <a:defRPr sz="2000"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Tree>
    <p:extLst>
      <p:ext uri="{BB962C8B-B14F-4D97-AF65-F5344CB8AC3E}">
        <p14:creationId xmlns:p14="http://schemas.microsoft.com/office/powerpoint/2010/main" val="107225479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7_Two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123B4B-9A98-B843-9497-4ECCDE5F9273}"/>
              </a:ext>
            </a:extLst>
          </p:cNvPr>
          <p:cNvSpPr>
            <a:spLocks noGrp="1"/>
          </p:cNvSpPr>
          <p:nvPr>
            <p:ph type="body" sz="quarter" idx="18" hasCustomPrompt="1"/>
          </p:nvPr>
        </p:nvSpPr>
        <p:spPr>
          <a:xfrm>
            <a:off x="7625437" y="3173289"/>
            <a:ext cx="3997325" cy="530225"/>
          </a:xfrm>
          <a:prstGeom prst="rect">
            <a:avLst/>
          </a:prstGeom>
        </p:spPr>
        <p:txBody>
          <a:bodyPr/>
          <a:lstStyle>
            <a:lvl1pPr marL="0" indent="0">
              <a:buNone/>
              <a:defRPr sz="2000" b="1">
                <a:solidFill>
                  <a:schemeClr val="tx2"/>
                </a:solidFill>
                <a:latin typeface="Inter" panose="020B0502030000000004" pitchFamily="34" charset="0"/>
                <a:ea typeface="Inter" panose="020B0502030000000004" pitchFamily="34" charset="0"/>
              </a:defRPr>
            </a:lvl1pPr>
          </a:lstStyle>
          <a:p>
            <a:pPr lvl="0"/>
            <a:r>
              <a:rPr lang="en-NO" sz="2000" b="1">
                <a:latin typeface="Inter" panose="020B0502030000000004" pitchFamily="34" charset="0"/>
                <a:ea typeface="Inter" panose="020B0502030000000004" pitchFamily="34" charset="0"/>
              </a:rPr>
              <a:t>OVERSKRIFT/overskrift</a:t>
            </a:r>
            <a:endParaRPr lang="en-NO"/>
          </a:p>
        </p:txBody>
      </p:sp>
      <p:sp>
        <p:nvSpPr>
          <p:cNvPr id="10" name="Text Placeholder 8">
            <a:extLst>
              <a:ext uri="{FF2B5EF4-FFF2-40B4-BE49-F238E27FC236}">
                <a16:creationId xmlns:a16="http://schemas.microsoft.com/office/drawing/2014/main" id="{9B56C181-0EB0-AE4E-A978-E9D1D823F549}"/>
              </a:ext>
            </a:extLst>
          </p:cNvPr>
          <p:cNvSpPr>
            <a:spLocks noGrp="1"/>
          </p:cNvSpPr>
          <p:nvPr>
            <p:ph type="body" sz="quarter" idx="19" hasCustomPrompt="1"/>
          </p:nvPr>
        </p:nvSpPr>
        <p:spPr>
          <a:xfrm>
            <a:off x="7638598" y="3735931"/>
            <a:ext cx="3987346" cy="15240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solidFill>
                  <a:srgbClr val="11133C"/>
                </a:solidFill>
                <a:latin typeface="Inter" panose="020B0502030000000004" pitchFamily="34" charset="0"/>
                <a:ea typeface="Inter" panose="020B0502030000000004" pitchFamily="34" charset="0"/>
              </a:defRPr>
            </a:lvl1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
        <p:nvSpPr>
          <p:cNvPr id="11" name="Picture Placeholder 7">
            <a:extLst>
              <a:ext uri="{FF2B5EF4-FFF2-40B4-BE49-F238E27FC236}">
                <a16:creationId xmlns:a16="http://schemas.microsoft.com/office/drawing/2014/main" id="{FBDFA3C1-F872-0847-9544-A55FC81CE32D}"/>
              </a:ext>
            </a:extLst>
          </p:cNvPr>
          <p:cNvSpPr>
            <a:spLocks noGrp="1"/>
          </p:cNvSpPr>
          <p:nvPr>
            <p:ph type="pic" sz="quarter" idx="14" hasCustomPrompt="1"/>
          </p:nvPr>
        </p:nvSpPr>
        <p:spPr>
          <a:xfrm>
            <a:off x="0" y="0"/>
            <a:ext cx="6099717" cy="6858000"/>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cxnSp>
        <p:nvCxnSpPr>
          <p:cNvPr id="7" name="Straight Connector 6">
            <a:extLst>
              <a:ext uri="{FF2B5EF4-FFF2-40B4-BE49-F238E27FC236}">
                <a16:creationId xmlns:a16="http://schemas.microsoft.com/office/drawing/2014/main" id="{8335B2F0-4006-E840-87DB-4E69D177336A}"/>
              </a:ext>
            </a:extLst>
          </p:cNvPr>
          <p:cNvCxnSpPr>
            <a:cxnSpLocks/>
          </p:cNvCxnSpPr>
          <p:nvPr userDrawn="1"/>
        </p:nvCxnSpPr>
        <p:spPr>
          <a:xfrm>
            <a:off x="6311627" y="-3411760"/>
            <a:ext cx="12961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30178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Blank 1" type="blank">
  <p:cSld name="Blank 1">
    <p:spTree>
      <p:nvGrpSpPr>
        <p:cNvPr id="1" name="Shape 29"/>
        <p:cNvGrpSpPr/>
        <p:nvPr/>
      </p:nvGrpSpPr>
      <p:grpSpPr>
        <a:xfrm>
          <a:off x="0" y="0"/>
          <a:ext cx="0" cy="0"/>
          <a:chOff x="0" y="0"/>
          <a:chExt cx="0" cy="0"/>
        </a:xfrm>
      </p:grpSpPr>
      <p:sp>
        <p:nvSpPr>
          <p:cNvPr id="30" name="Google Shape;30;p5"/>
          <p:cNvSpPr txBox="1">
            <a:spLocks noGrp="1"/>
          </p:cNvSpPr>
          <p:nvPr>
            <p:ph type="dt" idx="10"/>
          </p:nvPr>
        </p:nvSpPr>
        <p:spPr>
          <a:xfrm>
            <a:off x="914016" y="6248681"/>
            <a:ext cx="2540100" cy="456900"/>
          </a:xfrm>
          <a:prstGeom prst="rect">
            <a:avLst/>
          </a:prstGeom>
          <a:noFill/>
          <a:ln>
            <a:noFill/>
          </a:ln>
        </p:spPr>
        <p:txBody>
          <a:bodyPr spcFirstLastPara="1" wrap="square" lIns="100725" tIns="50325" rIns="100725" bIns="50325" anchor="t" anchorCtr="0">
            <a:noAutofit/>
          </a:bodyPr>
          <a:lstStyle>
            <a:lvl1pPr marR="0" lvl="0" algn="l">
              <a:lnSpc>
                <a:spcPct val="100000"/>
              </a:lnSpc>
              <a:spcBef>
                <a:spcPts val="0"/>
              </a:spcBef>
              <a:spcAft>
                <a:spcPts val="0"/>
              </a:spcAft>
              <a:buSzPts val="700"/>
              <a:buNone/>
              <a:defRPr sz="1600" b="0" i="0" u="none" strike="noStrike" cap="none">
                <a:solidFill>
                  <a:schemeClr val="dk1"/>
                </a:solidFill>
                <a:latin typeface="Times New Roman"/>
                <a:ea typeface="Times New Roman"/>
                <a:cs typeface="Times New Roman"/>
                <a:sym typeface="Times New Roman"/>
              </a:defRPr>
            </a:lvl1pPr>
            <a:lvl2pPr marR="0" lvl="1"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2pPr>
            <a:lvl3pPr marR="0" lvl="2"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3pPr>
            <a:lvl4pPr marR="0" lvl="3"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4pPr>
            <a:lvl5pPr marR="0" lvl="4"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5pPr>
            <a:lvl6pPr marR="0" lvl="5"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6pPr>
            <a:lvl7pPr marR="0" lvl="6"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7pPr>
            <a:lvl8pPr marR="0" lvl="7"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8pPr>
            <a:lvl9pPr marR="0" lvl="8"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9pPr>
          </a:lstStyle>
          <a:p>
            <a:endParaRPr/>
          </a:p>
        </p:txBody>
      </p:sp>
      <p:sp>
        <p:nvSpPr>
          <p:cNvPr id="31" name="Google Shape;31;p5"/>
          <p:cNvSpPr txBox="1">
            <a:spLocks noGrp="1"/>
          </p:cNvSpPr>
          <p:nvPr>
            <p:ph type="ftr" idx="11"/>
          </p:nvPr>
        </p:nvSpPr>
        <p:spPr>
          <a:xfrm>
            <a:off x="4165985" y="6248681"/>
            <a:ext cx="3860100" cy="456900"/>
          </a:xfrm>
          <a:prstGeom prst="rect">
            <a:avLst/>
          </a:prstGeom>
          <a:noFill/>
          <a:ln>
            <a:noFill/>
          </a:ln>
        </p:spPr>
        <p:txBody>
          <a:bodyPr spcFirstLastPara="1" wrap="square" lIns="100725" tIns="50325" rIns="100725" bIns="50325" anchor="t" anchorCtr="0">
            <a:noAutofit/>
          </a:bodyPr>
          <a:lstStyle>
            <a:lvl1pPr marR="0" lvl="0" algn="ctr">
              <a:lnSpc>
                <a:spcPct val="100000"/>
              </a:lnSpc>
              <a:spcBef>
                <a:spcPts val="0"/>
              </a:spcBef>
              <a:spcAft>
                <a:spcPts val="0"/>
              </a:spcAft>
              <a:buSzPts val="700"/>
              <a:buNone/>
              <a:defRPr sz="1600" b="0" i="0" u="none" strike="noStrike" cap="none">
                <a:solidFill>
                  <a:schemeClr val="dk1"/>
                </a:solidFill>
                <a:latin typeface="Times New Roman"/>
                <a:ea typeface="Times New Roman"/>
                <a:cs typeface="Times New Roman"/>
                <a:sym typeface="Times New Roman"/>
              </a:defRPr>
            </a:lvl1pPr>
            <a:lvl2pPr marR="0" lvl="1"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2pPr>
            <a:lvl3pPr marR="0" lvl="2"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3pPr>
            <a:lvl4pPr marR="0" lvl="3"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4pPr>
            <a:lvl5pPr marR="0" lvl="4"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5pPr>
            <a:lvl6pPr marR="0" lvl="5"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6pPr>
            <a:lvl7pPr marR="0" lvl="6"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7pPr>
            <a:lvl8pPr marR="0" lvl="7"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8pPr>
            <a:lvl9pPr marR="0" lvl="8" algn="l">
              <a:lnSpc>
                <a:spcPct val="100000"/>
              </a:lnSpc>
              <a:spcBef>
                <a:spcPts val="0"/>
              </a:spcBef>
              <a:spcAft>
                <a:spcPts val="0"/>
              </a:spcAft>
              <a:buSzPts val="700"/>
              <a:buNone/>
              <a:defRPr sz="2800" b="0" i="0" u="none" strike="noStrike" cap="none">
                <a:solidFill>
                  <a:schemeClr val="dk1"/>
                </a:solidFill>
                <a:latin typeface="Times New Roman"/>
                <a:ea typeface="Times New Roman"/>
                <a:cs typeface="Times New Roman"/>
                <a:sym typeface="Times New Roman"/>
              </a:defRPr>
            </a:lvl9pPr>
          </a:lstStyle>
          <a:p>
            <a:endParaRPr/>
          </a:p>
        </p:txBody>
      </p:sp>
      <p:sp>
        <p:nvSpPr>
          <p:cNvPr id="32" name="Google Shape;32;p5"/>
          <p:cNvSpPr txBox="1">
            <a:spLocks noGrp="1"/>
          </p:cNvSpPr>
          <p:nvPr>
            <p:ph type="sldNum" idx="12"/>
          </p:nvPr>
        </p:nvSpPr>
        <p:spPr>
          <a:xfrm>
            <a:off x="8737985" y="6248681"/>
            <a:ext cx="2540100" cy="456900"/>
          </a:xfrm>
          <a:prstGeom prst="rect">
            <a:avLst/>
          </a:prstGeom>
          <a:noFill/>
          <a:ln>
            <a:noFill/>
          </a:ln>
        </p:spPr>
        <p:txBody>
          <a:bodyPr spcFirstLastPara="1" wrap="square" lIns="100725" tIns="50325" rIns="100725" bIns="50325" anchor="t" anchorCtr="0">
            <a:noAutofit/>
          </a:bodyPr>
          <a:lstStyle>
            <a:lvl1pPr marL="0" marR="0" lvl="0"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1pPr>
            <a:lvl2pPr marL="0" marR="0" lvl="1"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2pPr>
            <a:lvl3pPr marL="0" marR="0" lvl="2"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3pPr>
            <a:lvl4pPr marL="0" marR="0" lvl="3"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4pPr>
            <a:lvl5pPr marL="0" marR="0" lvl="4"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5pPr>
            <a:lvl6pPr marL="0" marR="0" lvl="5"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6pPr>
            <a:lvl7pPr marL="0" marR="0" lvl="6"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7pPr>
            <a:lvl8pPr marL="0" marR="0" lvl="7"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8pPr>
            <a:lvl9pPr marL="0" marR="0" lvl="8" indent="0" algn="r">
              <a:lnSpc>
                <a:spcPct val="100000"/>
              </a:lnSpc>
              <a:spcBef>
                <a:spcPts val="0"/>
              </a:spcBef>
              <a:spcAft>
                <a:spcPts val="0"/>
              </a:spcAft>
              <a:buClr>
                <a:srgbClr val="000000"/>
              </a:buClr>
              <a:buSzPts val="1600"/>
              <a:buFont typeface="Arial"/>
              <a:buNone/>
              <a:defRPr sz="1600" b="0" i="0" u="none" strike="noStrike" cap="none">
                <a:solidFill>
                  <a:schemeClr val="dk1"/>
                </a:solidFill>
                <a:latin typeface="Times New Roman"/>
                <a:ea typeface="Times New Roman"/>
                <a:cs typeface="Times New Roman"/>
                <a:sym typeface="Times New Roman"/>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696722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INIVEILEDNING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753D2A-1505-164C-ADEF-5191642A6288}"/>
              </a:ext>
            </a:extLst>
          </p:cNvPr>
          <p:cNvSpPr/>
          <p:nvPr userDrawn="1"/>
        </p:nvSpPr>
        <p:spPr>
          <a:xfrm>
            <a:off x="767891" y="2455882"/>
            <a:ext cx="7584504" cy="4401205"/>
          </a:xfrm>
          <a:prstGeom prst="rect">
            <a:avLst/>
          </a:prstGeom>
        </p:spPr>
        <p:txBody>
          <a:bodyPr wrap="square" lIns="0">
            <a:spAutoFit/>
          </a:bodyPr>
          <a:lstStyle/>
          <a:p>
            <a:pPr marL="285750" indent="-285750">
              <a:buFont typeface="Arial" panose="020B0604020202020204" pitchFamily="34" charset="0"/>
              <a:buChar char="•"/>
            </a:pPr>
            <a:r>
              <a:rPr lang="nb-NO" sz="1400" b="0" i="0" u="none" strike="noStrike" kern="1200" noProof="0">
                <a:solidFill>
                  <a:srgbClr val="11133C"/>
                </a:solidFill>
                <a:effectLst/>
                <a:latin typeface="Inter" panose="020B0502030000000004" pitchFamily="34" charset="0"/>
                <a:ea typeface="Inter" panose="020B0502030000000004" pitchFamily="34" charset="0"/>
                <a:cs typeface="+mn-cs"/>
              </a:rPr>
              <a:t>Velg</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mellom</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caps lock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ell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k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I alle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overskrift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a:solidFill>
                  <a:schemeClr val="accent6"/>
                </a:solidFill>
                <a:effectLst/>
                <a:latin typeface="Inter" panose="020B0502030000000004" pitchFamily="34" charset="0"/>
                <a:ea typeface="Inter" panose="020B0502030000000004" pitchFamily="34" charset="0"/>
                <a:cs typeface="+mn-cs"/>
              </a:rPr>
              <a:t>SÅNN </a:t>
            </a:r>
            <a:r>
              <a:rPr lang="en-GB" sz="1400" b="0" i="0" u="none" strike="noStrike" kern="1200" err="1">
                <a:solidFill>
                  <a:schemeClr val="accent6"/>
                </a:solidFill>
                <a:effectLst/>
                <a:latin typeface="Inter" panose="020B0502030000000004" pitchFamily="34" charset="0"/>
                <a:ea typeface="Inter" panose="020B0502030000000004" pitchFamily="34" charset="0"/>
                <a:cs typeface="+mn-cs"/>
              </a:rPr>
              <a:t>eller</a:t>
            </a:r>
            <a:r>
              <a:rPr lang="en-GB" sz="1400" b="0" i="0" u="none" strike="noStrike" kern="1200">
                <a:solidFill>
                  <a:schemeClr val="accent6"/>
                </a:solidFill>
                <a:effectLst/>
                <a:latin typeface="Inter" panose="020B0502030000000004" pitchFamily="34" charset="0"/>
                <a:ea typeface="Inter" panose="020B0502030000000004" pitchFamily="34" charset="0"/>
                <a:cs typeface="+mn-cs"/>
              </a:rPr>
              <a:t> </a:t>
            </a:r>
            <a:r>
              <a:rPr lang="en-GB" sz="1400" b="0" i="0" u="none" strike="noStrike" kern="1200" err="1">
                <a:solidFill>
                  <a:schemeClr val="accent6"/>
                </a:solidFill>
                <a:effectLst/>
                <a:latin typeface="Inter" panose="020B0502030000000004" pitchFamily="34" charset="0"/>
                <a:ea typeface="Inter" panose="020B0502030000000004" pitchFamily="34" charset="0"/>
                <a:cs typeface="+mn-cs"/>
              </a:rPr>
              <a:t>sånn</a:t>
            </a:r>
            <a:r>
              <a:rPr lang="en-GB" sz="1400" b="0" i="0" u="none" strike="noStrike" kern="1200">
                <a:solidFill>
                  <a:schemeClr val="accent6"/>
                </a:solidFill>
                <a:effectLst/>
                <a:latin typeface="Inter" panose="020B0502030000000004" pitchFamily="34" charset="0"/>
                <a:ea typeface="Inter" panose="020B0502030000000004" pitchFamily="34" charset="0"/>
                <a:cs typeface="+mn-cs"/>
              </a:rPr>
              <a:t> </a:t>
            </a:r>
          </a:p>
          <a:p>
            <a:pPr marL="285750" indent="-285750">
              <a:buFont typeface="Arial" panose="020B0604020202020204" pitchFamily="34" charset="0"/>
              <a:buChar char="•"/>
            </a:pPr>
            <a:endParaRPr lang="en-GB" sz="1400" b="0" i="0" u="none" strike="noStrike" kern="1200">
              <a:solidFill>
                <a:schemeClr val="accent3"/>
              </a:solidFill>
              <a:effectLst/>
              <a:latin typeface="Inter" panose="020B0502030000000004" pitchFamily="34" charset="0"/>
              <a:ea typeface="Inter" panose="020B0502030000000004"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Just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plasseringen</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av</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overskrift</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punkt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og</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tekst</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selv</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ett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hvo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my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tekst</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du har.</a:t>
            </a:r>
          </a:p>
          <a:p>
            <a:pPr marL="0" indent="0">
              <a:buFont typeface="Arial" panose="020B0604020202020204" pitchFamily="34" charset="0"/>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2punk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tykkels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på</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linj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rett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hjørn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k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ued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k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skygg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a:solidFill>
                  <a:srgbClr val="11133C"/>
                </a:solidFill>
                <a:effectLst/>
                <a:latin typeface="Inter" panose="020B0502030000000004" pitchFamily="34" charset="0"/>
                <a:ea typeface="Inter" panose="020B0502030000000004" pitchFamily="34" charset="0"/>
                <a:cs typeface="+mn-cs"/>
              </a:rPr>
              <a:t>FONT: INTER, last ned her:  </a:t>
            </a:r>
            <a:r>
              <a:rPr lang="en-GB" sz="1400" b="0" i="0" u="none" strike="noStrike" kern="1200">
                <a:solidFill>
                  <a:schemeClr val="accent3"/>
                </a:solidFill>
                <a:effectLst/>
                <a:latin typeface="Inter" panose="020B0502030000000004" pitchFamily="34" charset="0"/>
                <a:ea typeface="Inter" panose="020B0502030000000004" pitchFamily="34" charset="0"/>
                <a:cs typeface="+mn-cs"/>
                <a:hlinkClick r:id="rId2">
                  <a:extLst>
                    <a:ext uri="{A12FA001-AC4F-418D-AE19-62706E023703}">
                      <ahyp:hlinkClr xmlns:ahyp="http://schemas.microsoft.com/office/drawing/2018/hyperlinkcolor" val="tx"/>
                    </a:ext>
                  </a:extLst>
                </a:hlinkClick>
              </a:rPr>
              <a:t>https://fonts.google.com/specimen/Inter</a:t>
            </a:r>
            <a:endParaRPr lang="en-GB" sz="1400" b="0" i="0" u="none" strike="noStrike" kern="1200">
              <a:solidFill>
                <a:schemeClr val="accent3"/>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Unngå</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midtstilt</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teks</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diss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fargen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hvit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ell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svart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on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IKKE orange </a:t>
            </a:r>
          </a:p>
          <a:p>
            <a:pPr marL="0" indent="0">
              <a:buFontTx/>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0" indent="0">
              <a:buFontTx/>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0" indent="0">
              <a:buFontTx/>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p:txBody>
      </p:sp>
      <p:cxnSp>
        <p:nvCxnSpPr>
          <p:cNvPr id="5" name="Straight Connector 4">
            <a:extLst>
              <a:ext uri="{FF2B5EF4-FFF2-40B4-BE49-F238E27FC236}">
                <a16:creationId xmlns:a16="http://schemas.microsoft.com/office/drawing/2014/main" id="{1351F920-F424-A549-80FB-D9E19631908D}"/>
              </a:ext>
            </a:extLst>
          </p:cNvPr>
          <p:cNvCxnSpPr/>
          <p:nvPr userDrawn="1"/>
        </p:nvCxnSpPr>
        <p:spPr>
          <a:xfrm>
            <a:off x="3806148" y="3492062"/>
            <a:ext cx="1139483"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3073F57-5D86-2B4F-85A5-CBC1AD90B295}"/>
              </a:ext>
            </a:extLst>
          </p:cNvPr>
          <p:cNvSpPr/>
          <p:nvPr userDrawn="1"/>
        </p:nvSpPr>
        <p:spPr>
          <a:xfrm>
            <a:off x="3722279" y="3742130"/>
            <a:ext cx="316927" cy="3169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7" name="Rounded Rectangle 6">
            <a:extLst>
              <a:ext uri="{FF2B5EF4-FFF2-40B4-BE49-F238E27FC236}">
                <a16:creationId xmlns:a16="http://schemas.microsoft.com/office/drawing/2014/main" id="{6C9ACD2A-B4F6-0F42-861C-030C6941BF04}"/>
              </a:ext>
            </a:extLst>
          </p:cNvPr>
          <p:cNvSpPr/>
          <p:nvPr userDrawn="1"/>
        </p:nvSpPr>
        <p:spPr>
          <a:xfrm>
            <a:off x="4162762" y="3742634"/>
            <a:ext cx="319191" cy="319191"/>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9" name="Rectangle 8">
            <a:extLst>
              <a:ext uri="{FF2B5EF4-FFF2-40B4-BE49-F238E27FC236}">
                <a16:creationId xmlns:a16="http://schemas.microsoft.com/office/drawing/2014/main" id="{B4F24344-B887-F04C-BA5B-BF64015F9D8B}"/>
              </a:ext>
            </a:extLst>
          </p:cNvPr>
          <p:cNvSpPr/>
          <p:nvPr userDrawn="1"/>
        </p:nvSpPr>
        <p:spPr>
          <a:xfrm>
            <a:off x="3186066" y="4176165"/>
            <a:ext cx="318821" cy="318821"/>
          </a:xfrm>
          <a:prstGeom prst="rect">
            <a:avLst/>
          </a:prstGeom>
          <a:solidFill>
            <a:srgbClr val="FF0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2" name="Rectangle 11">
            <a:extLst>
              <a:ext uri="{FF2B5EF4-FFF2-40B4-BE49-F238E27FC236}">
                <a16:creationId xmlns:a16="http://schemas.microsoft.com/office/drawing/2014/main" id="{E23C4A7A-4BEA-974B-8CD8-707ECEB64A4F}"/>
              </a:ext>
            </a:extLst>
          </p:cNvPr>
          <p:cNvSpPr/>
          <p:nvPr userDrawn="1"/>
        </p:nvSpPr>
        <p:spPr>
          <a:xfrm>
            <a:off x="2726600" y="4179804"/>
            <a:ext cx="316927" cy="3169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3" name="Rectangle 12">
            <a:extLst>
              <a:ext uri="{FF2B5EF4-FFF2-40B4-BE49-F238E27FC236}">
                <a16:creationId xmlns:a16="http://schemas.microsoft.com/office/drawing/2014/main" id="{577D0B94-868F-AC4A-AB1F-924626EC7A04}"/>
              </a:ext>
            </a:extLst>
          </p:cNvPr>
          <p:cNvSpPr/>
          <p:nvPr userDrawn="1"/>
        </p:nvSpPr>
        <p:spPr>
          <a:xfrm>
            <a:off x="2812511" y="5452633"/>
            <a:ext cx="316927" cy="31692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4" name="Rectangle 13">
            <a:extLst>
              <a:ext uri="{FF2B5EF4-FFF2-40B4-BE49-F238E27FC236}">
                <a16:creationId xmlns:a16="http://schemas.microsoft.com/office/drawing/2014/main" id="{72E62E67-38FE-EA4B-985B-ADC1EB3BF532}"/>
              </a:ext>
            </a:extLst>
          </p:cNvPr>
          <p:cNvSpPr/>
          <p:nvPr userDrawn="1"/>
        </p:nvSpPr>
        <p:spPr>
          <a:xfrm>
            <a:off x="3269711" y="5446007"/>
            <a:ext cx="316927" cy="3169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5" name="Rectangle 14">
            <a:extLst>
              <a:ext uri="{FF2B5EF4-FFF2-40B4-BE49-F238E27FC236}">
                <a16:creationId xmlns:a16="http://schemas.microsoft.com/office/drawing/2014/main" id="{FA77057A-0206-1D43-A8AA-DEE1C0CDED3B}"/>
              </a:ext>
            </a:extLst>
          </p:cNvPr>
          <p:cNvSpPr/>
          <p:nvPr userDrawn="1"/>
        </p:nvSpPr>
        <p:spPr>
          <a:xfrm>
            <a:off x="3753187" y="5447378"/>
            <a:ext cx="316927" cy="3169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6" name="Rectangle 15">
            <a:extLst>
              <a:ext uri="{FF2B5EF4-FFF2-40B4-BE49-F238E27FC236}">
                <a16:creationId xmlns:a16="http://schemas.microsoft.com/office/drawing/2014/main" id="{4FC13568-FB6D-C048-A9A4-CEAEFD45FBC0}"/>
              </a:ext>
            </a:extLst>
          </p:cNvPr>
          <p:cNvSpPr/>
          <p:nvPr userDrawn="1"/>
        </p:nvSpPr>
        <p:spPr>
          <a:xfrm>
            <a:off x="5103766" y="5451262"/>
            <a:ext cx="316927" cy="316927"/>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Rectangle 16">
            <a:extLst>
              <a:ext uri="{FF2B5EF4-FFF2-40B4-BE49-F238E27FC236}">
                <a16:creationId xmlns:a16="http://schemas.microsoft.com/office/drawing/2014/main" id="{1B0F68C1-A7F5-7D41-87FA-39CE61DBDD93}"/>
              </a:ext>
            </a:extLst>
          </p:cNvPr>
          <p:cNvSpPr/>
          <p:nvPr userDrawn="1"/>
        </p:nvSpPr>
        <p:spPr>
          <a:xfrm>
            <a:off x="4205132" y="5447378"/>
            <a:ext cx="316927" cy="3169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8" name="Rectangle 17">
            <a:extLst>
              <a:ext uri="{FF2B5EF4-FFF2-40B4-BE49-F238E27FC236}">
                <a16:creationId xmlns:a16="http://schemas.microsoft.com/office/drawing/2014/main" id="{70A0A5E1-CF17-CA45-9FA6-A916BAEED473}"/>
              </a:ext>
            </a:extLst>
          </p:cNvPr>
          <p:cNvSpPr/>
          <p:nvPr userDrawn="1"/>
        </p:nvSpPr>
        <p:spPr>
          <a:xfrm>
            <a:off x="4651821" y="5451263"/>
            <a:ext cx="316927" cy="3169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Rectangle 18">
            <a:extLst>
              <a:ext uri="{FF2B5EF4-FFF2-40B4-BE49-F238E27FC236}">
                <a16:creationId xmlns:a16="http://schemas.microsoft.com/office/drawing/2014/main" id="{72F0A3F5-2574-6D4D-9CD7-973F0F007310}"/>
              </a:ext>
            </a:extLst>
          </p:cNvPr>
          <p:cNvSpPr/>
          <p:nvPr userDrawn="1"/>
        </p:nvSpPr>
        <p:spPr>
          <a:xfrm>
            <a:off x="5550456" y="5446007"/>
            <a:ext cx="316927" cy="316927"/>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0" name="TextBox 19">
            <a:extLst>
              <a:ext uri="{FF2B5EF4-FFF2-40B4-BE49-F238E27FC236}">
                <a16:creationId xmlns:a16="http://schemas.microsoft.com/office/drawing/2014/main" id="{98C5D036-F7B1-0F42-8401-63F8D1CDC1AE}"/>
              </a:ext>
            </a:extLst>
          </p:cNvPr>
          <p:cNvSpPr txBox="1"/>
          <p:nvPr userDrawn="1"/>
        </p:nvSpPr>
        <p:spPr>
          <a:xfrm>
            <a:off x="990127" y="1416022"/>
            <a:ext cx="10153525" cy="769441"/>
          </a:xfrm>
          <a:prstGeom prst="rect">
            <a:avLst/>
          </a:prstGeom>
          <a:noFill/>
        </p:spPr>
        <p:txBody>
          <a:bodyPr wrap="square" lIns="0" rtlCol="0">
            <a:spAutoFit/>
          </a:bodyPr>
          <a:lstStyle/>
          <a:p>
            <a:r>
              <a:rPr lang="en-GB" sz="4400" b="1">
                <a:solidFill>
                  <a:srgbClr val="11133C"/>
                </a:solidFill>
                <a:latin typeface="Inter" panose="020B0502030000000004" pitchFamily="34" charset="0"/>
                <a:ea typeface="Inter" panose="020B0502030000000004" pitchFamily="34" charset="0"/>
              </a:rPr>
              <a:t>MINIVEILEDNING</a:t>
            </a:r>
            <a:endParaRPr lang="en-NO" sz="4400" b="1">
              <a:solidFill>
                <a:srgbClr val="11133C"/>
              </a:solidFill>
              <a:latin typeface="Inter" panose="020B0502030000000004" pitchFamily="34" charset="0"/>
              <a:ea typeface="Inter" panose="020B0502030000000004" pitchFamily="34" charset="0"/>
            </a:endParaRPr>
          </a:p>
        </p:txBody>
      </p:sp>
    </p:spTree>
    <p:extLst>
      <p:ext uri="{BB962C8B-B14F-4D97-AF65-F5344CB8AC3E}">
        <p14:creationId xmlns:p14="http://schemas.microsoft.com/office/powerpoint/2010/main" val="22371023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MINIVEILEDNING 2">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671B2B4-9DA0-7A43-8F33-1063FF99B514}"/>
              </a:ext>
            </a:extLst>
          </p:cNvPr>
          <p:cNvSpPr txBox="1"/>
          <p:nvPr userDrawn="1"/>
        </p:nvSpPr>
        <p:spPr>
          <a:xfrm>
            <a:off x="1047898" y="1873971"/>
            <a:ext cx="6408712" cy="461665"/>
          </a:xfrm>
          <a:prstGeom prst="rect">
            <a:avLst/>
          </a:prstGeom>
          <a:noFill/>
        </p:spPr>
        <p:txBody>
          <a:bodyPr wrap="square" rtlCol="0">
            <a:spAutoFit/>
          </a:bodyPr>
          <a:lstStyle/>
          <a:p>
            <a:r>
              <a:rPr lang="en-NO" sz="1200" b="0">
                <a:solidFill>
                  <a:srgbClr val="11133C"/>
                </a:solidFill>
                <a:latin typeface="Inter" panose="020B0502030000000004" pitchFamily="34" charset="0"/>
                <a:ea typeface="Inter" panose="020B0502030000000004" pitchFamily="34" charset="0"/>
              </a:rPr>
              <a:t>Når du skal lage modeller ikke bruk runde hjørner eller skygger, men bruk rette vinkler og streker med pil eller bare én ren strek. Bruk enten bare ramme, eller bare fyll.</a:t>
            </a:r>
          </a:p>
        </p:txBody>
      </p:sp>
      <p:cxnSp>
        <p:nvCxnSpPr>
          <p:cNvPr id="8" name="Straight Connector 7">
            <a:extLst>
              <a:ext uri="{FF2B5EF4-FFF2-40B4-BE49-F238E27FC236}">
                <a16:creationId xmlns:a16="http://schemas.microsoft.com/office/drawing/2014/main" id="{51D3720B-0F73-3F4C-BC91-BD0E59020444}"/>
              </a:ext>
            </a:extLst>
          </p:cNvPr>
          <p:cNvCxnSpPr>
            <a:cxnSpLocks/>
          </p:cNvCxnSpPr>
          <p:nvPr userDrawn="1"/>
        </p:nvCxnSpPr>
        <p:spPr>
          <a:xfrm>
            <a:off x="-2616968" y="2636912"/>
            <a:ext cx="1199456"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69D2797-A88B-BE4E-AD60-B5D389B64A37}"/>
              </a:ext>
            </a:extLst>
          </p:cNvPr>
          <p:cNvPicPr>
            <a:picLocks noChangeAspect="1"/>
          </p:cNvPicPr>
          <p:nvPr userDrawn="1"/>
        </p:nvPicPr>
        <p:blipFill>
          <a:blip r:embed="rId2"/>
          <a:stretch>
            <a:fillRect/>
          </a:stretch>
        </p:blipFill>
        <p:spPr>
          <a:xfrm>
            <a:off x="-2361570" y="-891480"/>
            <a:ext cx="2664296" cy="358077"/>
          </a:xfrm>
          <a:prstGeom prst="rect">
            <a:avLst/>
          </a:prstGeom>
        </p:spPr>
      </p:pic>
      <p:sp>
        <p:nvSpPr>
          <p:cNvPr id="4" name="Triangle 3">
            <a:extLst>
              <a:ext uri="{FF2B5EF4-FFF2-40B4-BE49-F238E27FC236}">
                <a16:creationId xmlns:a16="http://schemas.microsoft.com/office/drawing/2014/main" id="{3BB6E972-206B-8848-B52E-03D8814AD1C4}"/>
              </a:ext>
            </a:extLst>
          </p:cNvPr>
          <p:cNvSpPr/>
          <p:nvPr userDrawn="1"/>
        </p:nvSpPr>
        <p:spPr>
          <a:xfrm>
            <a:off x="1120624" y="2999091"/>
            <a:ext cx="608200" cy="52431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 name="Rectangle 4">
            <a:extLst>
              <a:ext uri="{FF2B5EF4-FFF2-40B4-BE49-F238E27FC236}">
                <a16:creationId xmlns:a16="http://schemas.microsoft.com/office/drawing/2014/main" id="{3071E23F-998A-B143-980B-92629B22FCF2}"/>
              </a:ext>
            </a:extLst>
          </p:cNvPr>
          <p:cNvSpPr/>
          <p:nvPr userDrawn="1"/>
        </p:nvSpPr>
        <p:spPr>
          <a:xfrm>
            <a:off x="2272752" y="2955692"/>
            <a:ext cx="567653" cy="567653"/>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 name="Oval 5">
            <a:extLst>
              <a:ext uri="{FF2B5EF4-FFF2-40B4-BE49-F238E27FC236}">
                <a16:creationId xmlns:a16="http://schemas.microsoft.com/office/drawing/2014/main" id="{37269A80-A194-6945-BBCF-24A8D0448A6A}"/>
              </a:ext>
            </a:extLst>
          </p:cNvPr>
          <p:cNvSpPr/>
          <p:nvPr userDrawn="1"/>
        </p:nvSpPr>
        <p:spPr>
          <a:xfrm>
            <a:off x="3384333" y="2955691"/>
            <a:ext cx="567653" cy="5676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1" name="Straight Connector 10">
            <a:extLst>
              <a:ext uri="{FF2B5EF4-FFF2-40B4-BE49-F238E27FC236}">
                <a16:creationId xmlns:a16="http://schemas.microsoft.com/office/drawing/2014/main" id="{A368758D-75FE-3A47-A671-DEFE77391D75}"/>
              </a:ext>
            </a:extLst>
          </p:cNvPr>
          <p:cNvCxnSpPr/>
          <p:nvPr userDrawn="1"/>
        </p:nvCxnSpPr>
        <p:spPr>
          <a:xfrm>
            <a:off x="7176120" y="1844824"/>
            <a:ext cx="0" cy="1016413"/>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43C3EE-277C-0D47-BA3A-5892F9231DEA}"/>
              </a:ext>
            </a:extLst>
          </p:cNvPr>
          <p:cNvCxnSpPr>
            <a:cxnSpLocks/>
          </p:cNvCxnSpPr>
          <p:nvPr userDrawn="1"/>
        </p:nvCxnSpPr>
        <p:spPr>
          <a:xfrm flipV="1">
            <a:off x="4432992" y="2955691"/>
            <a:ext cx="0" cy="567653"/>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C067555-B8B4-2342-8FE6-A961AEBA2843}"/>
              </a:ext>
            </a:extLst>
          </p:cNvPr>
          <p:cNvSpPr/>
          <p:nvPr userDrawn="1"/>
        </p:nvSpPr>
        <p:spPr>
          <a:xfrm>
            <a:off x="1052972" y="4073008"/>
            <a:ext cx="1103574" cy="5676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6" name="Rectangle 25">
            <a:extLst>
              <a:ext uri="{FF2B5EF4-FFF2-40B4-BE49-F238E27FC236}">
                <a16:creationId xmlns:a16="http://schemas.microsoft.com/office/drawing/2014/main" id="{E5DCD1DC-F58E-4D46-BDAF-A9CD064B93B5}"/>
              </a:ext>
            </a:extLst>
          </p:cNvPr>
          <p:cNvSpPr/>
          <p:nvPr userDrawn="1"/>
        </p:nvSpPr>
        <p:spPr>
          <a:xfrm>
            <a:off x="1052972" y="4974352"/>
            <a:ext cx="1103574" cy="567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sz="1400">
                <a:solidFill>
                  <a:srgbClr val="F9EAD4"/>
                </a:solidFill>
                <a:latin typeface="Inter" panose="020B0502030000000004" pitchFamily="34" charset="0"/>
                <a:ea typeface="Inter" panose="020B0502030000000004" pitchFamily="34" charset="0"/>
              </a:rPr>
              <a:t>IV</a:t>
            </a:r>
          </a:p>
        </p:txBody>
      </p:sp>
      <p:sp>
        <p:nvSpPr>
          <p:cNvPr id="27" name="Rectangle 26">
            <a:extLst>
              <a:ext uri="{FF2B5EF4-FFF2-40B4-BE49-F238E27FC236}">
                <a16:creationId xmlns:a16="http://schemas.microsoft.com/office/drawing/2014/main" id="{7853FA7F-04F1-554D-9776-8FEFA856B88E}"/>
              </a:ext>
            </a:extLst>
          </p:cNvPr>
          <p:cNvSpPr/>
          <p:nvPr userDrawn="1"/>
        </p:nvSpPr>
        <p:spPr>
          <a:xfrm>
            <a:off x="1060831" y="5792789"/>
            <a:ext cx="1103574" cy="567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8" name="Rectangle 27">
            <a:extLst>
              <a:ext uri="{FF2B5EF4-FFF2-40B4-BE49-F238E27FC236}">
                <a16:creationId xmlns:a16="http://schemas.microsoft.com/office/drawing/2014/main" id="{3C39DCC9-501B-DA4D-B885-166D505BB2B9}"/>
              </a:ext>
            </a:extLst>
          </p:cNvPr>
          <p:cNvSpPr/>
          <p:nvPr userDrawn="1"/>
        </p:nvSpPr>
        <p:spPr>
          <a:xfrm>
            <a:off x="2448379" y="4974352"/>
            <a:ext cx="1103574" cy="567653"/>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32" name="Straight Arrow Connector 31">
            <a:extLst>
              <a:ext uri="{FF2B5EF4-FFF2-40B4-BE49-F238E27FC236}">
                <a16:creationId xmlns:a16="http://schemas.microsoft.com/office/drawing/2014/main" id="{C955DEEE-2E1B-1246-9E64-38C660DE5DC2}"/>
              </a:ext>
            </a:extLst>
          </p:cNvPr>
          <p:cNvCxnSpPr>
            <a:cxnSpLocks/>
          </p:cNvCxnSpPr>
          <p:nvPr userDrawn="1"/>
        </p:nvCxnSpPr>
        <p:spPr>
          <a:xfrm>
            <a:off x="2991580" y="4276153"/>
            <a:ext cx="0" cy="491439"/>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EA8074A-1C6C-3645-B4F2-CCF4BB8DFAC2}"/>
              </a:ext>
            </a:extLst>
          </p:cNvPr>
          <p:cNvCxnSpPr>
            <a:cxnSpLocks/>
          </p:cNvCxnSpPr>
          <p:nvPr userDrawn="1"/>
        </p:nvCxnSpPr>
        <p:spPr>
          <a:xfrm flipH="1">
            <a:off x="2516586" y="4289032"/>
            <a:ext cx="48358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7D97EBA-4C3A-7848-AE3A-AD7102FD65D7}"/>
              </a:ext>
            </a:extLst>
          </p:cNvPr>
          <p:cNvCxnSpPr>
            <a:cxnSpLocks/>
          </p:cNvCxnSpPr>
          <p:nvPr userDrawn="1"/>
        </p:nvCxnSpPr>
        <p:spPr>
          <a:xfrm flipH="1">
            <a:off x="6791950" y="5931862"/>
            <a:ext cx="454796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47848029-BC2A-C842-B698-BB7BE6DD9C75}"/>
              </a:ext>
            </a:extLst>
          </p:cNvPr>
          <p:cNvSpPr/>
          <p:nvPr userDrawn="1"/>
        </p:nvSpPr>
        <p:spPr>
          <a:xfrm>
            <a:off x="7539852" y="5768854"/>
            <a:ext cx="326016" cy="32601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3" name="Oval 52">
            <a:extLst>
              <a:ext uri="{FF2B5EF4-FFF2-40B4-BE49-F238E27FC236}">
                <a16:creationId xmlns:a16="http://schemas.microsoft.com/office/drawing/2014/main" id="{20A13B0E-3034-5F4E-A1C0-E3A8B1F141CC}"/>
              </a:ext>
            </a:extLst>
          </p:cNvPr>
          <p:cNvSpPr/>
          <p:nvPr userDrawn="1"/>
        </p:nvSpPr>
        <p:spPr>
          <a:xfrm>
            <a:off x="8651430" y="5724610"/>
            <a:ext cx="414503" cy="4145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4" name="Oval 53">
            <a:extLst>
              <a:ext uri="{FF2B5EF4-FFF2-40B4-BE49-F238E27FC236}">
                <a16:creationId xmlns:a16="http://schemas.microsoft.com/office/drawing/2014/main" id="{AC39DA5A-525E-394E-8895-AFDF6E3AE745}"/>
              </a:ext>
            </a:extLst>
          </p:cNvPr>
          <p:cNvSpPr/>
          <p:nvPr userDrawn="1"/>
        </p:nvSpPr>
        <p:spPr>
          <a:xfrm>
            <a:off x="9845766" y="5458188"/>
            <a:ext cx="858859" cy="85885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1" name="Triangle 60">
            <a:extLst>
              <a:ext uri="{FF2B5EF4-FFF2-40B4-BE49-F238E27FC236}">
                <a16:creationId xmlns:a16="http://schemas.microsoft.com/office/drawing/2014/main" id="{321D96BA-4B53-F343-91FA-5E95646B83C7}"/>
              </a:ext>
            </a:extLst>
          </p:cNvPr>
          <p:cNvSpPr/>
          <p:nvPr userDrawn="1"/>
        </p:nvSpPr>
        <p:spPr>
          <a:xfrm>
            <a:off x="7809159" y="3845689"/>
            <a:ext cx="902071" cy="112487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0" name="Triangle 59">
            <a:extLst>
              <a:ext uri="{FF2B5EF4-FFF2-40B4-BE49-F238E27FC236}">
                <a16:creationId xmlns:a16="http://schemas.microsoft.com/office/drawing/2014/main" id="{6425F05F-0B18-DA40-A2F7-517AD93E7412}"/>
              </a:ext>
            </a:extLst>
          </p:cNvPr>
          <p:cNvSpPr/>
          <p:nvPr userDrawn="1"/>
        </p:nvSpPr>
        <p:spPr>
          <a:xfrm>
            <a:off x="7386367" y="4446251"/>
            <a:ext cx="483577" cy="52431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2" name="Triangle 61">
            <a:extLst>
              <a:ext uri="{FF2B5EF4-FFF2-40B4-BE49-F238E27FC236}">
                <a16:creationId xmlns:a16="http://schemas.microsoft.com/office/drawing/2014/main" id="{6E3A1377-7579-1149-BB5A-44BF21F13E15}"/>
              </a:ext>
            </a:extLst>
          </p:cNvPr>
          <p:cNvSpPr/>
          <p:nvPr userDrawn="1"/>
        </p:nvSpPr>
        <p:spPr>
          <a:xfrm>
            <a:off x="8235852" y="4273662"/>
            <a:ext cx="1374973" cy="69689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3" name="Triangle 62">
            <a:extLst>
              <a:ext uri="{FF2B5EF4-FFF2-40B4-BE49-F238E27FC236}">
                <a16:creationId xmlns:a16="http://schemas.microsoft.com/office/drawing/2014/main" id="{864C17EC-444B-F74A-8A51-9C3E30B47ABA}"/>
              </a:ext>
            </a:extLst>
          </p:cNvPr>
          <p:cNvSpPr/>
          <p:nvPr userDrawn="1"/>
        </p:nvSpPr>
        <p:spPr>
          <a:xfrm>
            <a:off x="9254948" y="3485651"/>
            <a:ext cx="1374973" cy="148491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4" name="TextBox 33">
            <a:extLst>
              <a:ext uri="{FF2B5EF4-FFF2-40B4-BE49-F238E27FC236}">
                <a16:creationId xmlns:a16="http://schemas.microsoft.com/office/drawing/2014/main" id="{C19844A6-E9C2-F346-AA77-26A27A155A70}"/>
              </a:ext>
            </a:extLst>
          </p:cNvPr>
          <p:cNvSpPr txBox="1"/>
          <p:nvPr userDrawn="1"/>
        </p:nvSpPr>
        <p:spPr>
          <a:xfrm>
            <a:off x="1068185" y="746949"/>
            <a:ext cx="10153525" cy="769441"/>
          </a:xfrm>
          <a:prstGeom prst="rect">
            <a:avLst/>
          </a:prstGeom>
          <a:noFill/>
        </p:spPr>
        <p:txBody>
          <a:bodyPr wrap="square" lIns="0" rtlCol="0">
            <a:spAutoFit/>
          </a:bodyPr>
          <a:lstStyle/>
          <a:p>
            <a:r>
              <a:rPr lang="en-GB" sz="4400" b="1">
                <a:solidFill>
                  <a:srgbClr val="11133C"/>
                </a:solidFill>
                <a:latin typeface="Inter" panose="020B0502030000000004" pitchFamily="34" charset="0"/>
                <a:ea typeface="Inter" panose="020B0502030000000004" pitchFamily="34" charset="0"/>
              </a:rPr>
              <a:t>MINIVEILEDNING</a:t>
            </a:r>
            <a:endParaRPr lang="en-NO" sz="4400" b="1">
              <a:solidFill>
                <a:srgbClr val="11133C"/>
              </a:solidFill>
              <a:latin typeface="Inter" panose="020B0502030000000004" pitchFamily="34" charset="0"/>
              <a:ea typeface="Inter" panose="020B0502030000000004" pitchFamily="34" charset="0"/>
            </a:endParaRPr>
          </a:p>
        </p:txBody>
      </p:sp>
      <p:sp>
        <p:nvSpPr>
          <p:cNvPr id="15" name="Rectangle 14">
            <a:extLst>
              <a:ext uri="{FF2B5EF4-FFF2-40B4-BE49-F238E27FC236}">
                <a16:creationId xmlns:a16="http://schemas.microsoft.com/office/drawing/2014/main" id="{8951754A-976A-E244-ADF0-376DBE8DD971}"/>
              </a:ext>
            </a:extLst>
          </p:cNvPr>
          <p:cNvSpPr/>
          <p:nvPr userDrawn="1"/>
        </p:nvSpPr>
        <p:spPr>
          <a:xfrm>
            <a:off x="981307" y="2743200"/>
            <a:ext cx="3992137" cy="10705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5" name="Rectangle 34">
            <a:extLst>
              <a:ext uri="{FF2B5EF4-FFF2-40B4-BE49-F238E27FC236}">
                <a16:creationId xmlns:a16="http://schemas.microsoft.com/office/drawing/2014/main" id="{BF1E3946-FA07-8E48-B624-2C43A2E91D82}"/>
              </a:ext>
            </a:extLst>
          </p:cNvPr>
          <p:cNvSpPr/>
          <p:nvPr userDrawn="1"/>
        </p:nvSpPr>
        <p:spPr>
          <a:xfrm>
            <a:off x="955287" y="3943815"/>
            <a:ext cx="3992137" cy="25796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6" name="Rectangle 35">
            <a:extLst>
              <a:ext uri="{FF2B5EF4-FFF2-40B4-BE49-F238E27FC236}">
                <a16:creationId xmlns:a16="http://schemas.microsoft.com/office/drawing/2014/main" id="{7C0E9AC2-5C8B-4345-B4B2-32333A36C14B}"/>
              </a:ext>
            </a:extLst>
          </p:cNvPr>
          <p:cNvSpPr/>
          <p:nvPr userDrawn="1"/>
        </p:nvSpPr>
        <p:spPr>
          <a:xfrm>
            <a:off x="6315307" y="2735766"/>
            <a:ext cx="5304264" cy="24830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7" name="Rectangle 36">
            <a:extLst>
              <a:ext uri="{FF2B5EF4-FFF2-40B4-BE49-F238E27FC236}">
                <a16:creationId xmlns:a16="http://schemas.microsoft.com/office/drawing/2014/main" id="{BFB0512F-ADD4-224B-8F27-5D874812EF79}"/>
              </a:ext>
            </a:extLst>
          </p:cNvPr>
          <p:cNvSpPr/>
          <p:nvPr userDrawn="1"/>
        </p:nvSpPr>
        <p:spPr>
          <a:xfrm>
            <a:off x="6319024" y="5360019"/>
            <a:ext cx="5311698" cy="117459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Tree>
    <p:extLst>
      <p:ext uri="{BB962C8B-B14F-4D97-AF65-F5344CB8AC3E}">
        <p14:creationId xmlns:p14="http://schemas.microsoft.com/office/powerpoint/2010/main" val="267391940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OVERSKRIFT + TEKST ">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3265040" y="1412776"/>
            <a:ext cx="12995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EA7EF65A-5F5D-6740-9C3A-0DA34B710C16}"/>
              </a:ext>
            </a:extLst>
          </p:cNvPr>
          <p:cNvSpPr>
            <a:spLocks noGrp="1"/>
          </p:cNvSpPr>
          <p:nvPr>
            <p:ph type="body" sz="quarter" idx="14" hasCustomPrompt="1"/>
          </p:nvPr>
        </p:nvSpPr>
        <p:spPr>
          <a:xfrm>
            <a:off x="685800" y="1859915"/>
            <a:ext cx="11171238" cy="4664710"/>
          </a:xfrm>
          <a:prstGeom prst="rect">
            <a:avLst/>
          </a:prstGeom>
          <a:noFill/>
        </p:spPr>
        <p:txBody>
          <a:bodyPr>
            <a:normAutofit/>
          </a:bodyPr>
          <a:lstStyle>
            <a:lvl1pPr marL="0" indent="0">
              <a:buFontTx/>
              <a:buNone/>
              <a:defRPr>
                <a:ln>
                  <a:noFill/>
                </a:ln>
                <a:solidFill>
                  <a:srgbClr val="11133C"/>
                </a:solidFill>
                <a:latin typeface="Inter" panose="020B0502030000000004" pitchFamily="34" charset="0"/>
                <a:ea typeface="Inter" panose="020B0502030000000004" pitchFamily="34" charset="0"/>
              </a:defRPr>
            </a:lvl1pPr>
            <a:lvl2pPr marL="457200" indent="0">
              <a:buFontTx/>
              <a:buNone/>
              <a:defRPr>
                <a:ln>
                  <a:noFill/>
                </a:ln>
                <a:solidFill>
                  <a:srgbClr val="F9EAD4"/>
                </a:solidFill>
                <a:latin typeface="Inter" panose="020B0502030000000004" pitchFamily="34" charset="0"/>
                <a:ea typeface="Inter" panose="020B0502030000000004" pitchFamily="34" charset="0"/>
              </a:defRPr>
            </a:lvl2pPr>
            <a:lvl3pPr marL="914400" indent="0">
              <a:buFontTx/>
              <a:buNone/>
              <a:defRPr>
                <a:ln>
                  <a:noFill/>
                </a:ln>
                <a:solidFill>
                  <a:srgbClr val="F9EAD4"/>
                </a:solidFill>
                <a:latin typeface="Inter" panose="020B0502030000000004" pitchFamily="34" charset="0"/>
                <a:ea typeface="Inter" panose="020B0502030000000004" pitchFamily="34" charset="0"/>
              </a:defRPr>
            </a:lvl3pPr>
            <a:lvl4pPr marL="1371600" indent="0">
              <a:buFontTx/>
              <a:buNone/>
              <a:defRPr>
                <a:ln>
                  <a:noFill/>
                </a:ln>
                <a:solidFill>
                  <a:srgbClr val="F9EAD4"/>
                </a:solidFill>
                <a:latin typeface="Inter" panose="020B0502030000000004" pitchFamily="34" charset="0"/>
                <a:ea typeface="Inter" panose="020B0502030000000004" pitchFamily="34" charset="0"/>
              </a:defRPr>
            </a:lvl4pPr>
            <a:lvl5pPr marL="1828800" indent="0">
              <a:buFontTx/>
              <a:buNone/>
              <a:defRPr>
                <a:ln>
                  <a:noFill/>
                </a:ln>
                <a:solidFill>
                  <a:srgbClr val="F9EAD4"/>
                </a:solidFill>
                <a:latin typeface="Inter" panose="020B0502030000000004" pitchFamily="34" charset="0"/>
                <a:ea typeface="Inter" panose="020B0502030000000004" pitchFamily="34" charset="0"/>
              </a:defRPr>
            </a:lvl5pPr>
          </a:lstStyle>
          <a:p>
            <a:pPr lvl="0"/>
            <a:r>
              <a:rPr lang="en-GB"/>
              <a:t>Text here please </a:t>
            </a:r>
            <a:endParaRPr lang="nb-NO"/>
          </a:p>
        </p:txBody>
      </p:sp>
      <p:sp>
        <p:nvSpPr>
          <p:cNvPr id="10" name="Title 2">
            <a:extLst>
              <a:ext uri="{FF2B5EF4-FFF2-40B4-BE49-F238E27FC236}">
                <a16:creationId xmlns:a16="http://schemas.microsoft.com/office/drawing/2014/main" id="{E536A1A7-7882-B941-BD11-955410590C6F}"/>
              </a:ext>
            </a:extLst>
          </p:cNvPr>
          <p:cNvSpPr>
            <a:spLocks noGrp="1"/>
          </p:cNvSpPr>
          <p:nvPr>
            <p:ph type="title" hasCustomPrompt="1"/>
          </p:nvPr>
        </p:nvSpPr>
        <p:spPr>
          <a:xfrm>
            <a:off x="685798" y="881742"/>
            <a:ext cx="10744201"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302137052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3265040" y="1412776"/>
            <a:ext cx="12995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10" name="Title 2">
            <a:extLst>
              <a:ext uri="{FF2B5EF4-FFF2-40B4-BE49-F238E27FC236}">
                <a16:creationId xmlns:a16="http://schemas.microsoft.com/office/drawing/2014/main" id="{E536A1A7-7882-B941-BD11-955410590C6F}"/>
              </a:ext>
            </a:extLst>
          </p:cNvPr>
          <p:cNvSpPr>
            <a:spLocks noGrp="1"/>
          </p:cNvSpPr>
          <p:nvPr>
            <p:ph type="title" hasCustomPrompt="1"/>
          </p:nvPr>
        </p:nvSpPr>
        <p:spPr>
          <a:xfrm>
            <a:off x="685798" y="881742"/>
            <a:ext cx="10744201"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143894283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OVERSKRIFT + POINT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3265040" y="1412776"/>
            <a:ext cx="12995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92D51FA1-24DE-4942-AA66-3C2077F65150}"/>
              </a:ext>
            </a:extLst>
          </p:cNvPr>
          <p:cNvSpPr>
            <a:spLocks noGrp="1"/>
          </p:cNvSpPr>
          <p:nvPr>
            <p:ph type="body" sz="quarter" idx="14" hasCustomPrompt="1"/>
          </p:nvPr>
        </p:nvSpPr>
        <p:spPr>
          <a:xfrm>
            <a:off x="701676" y="1828800"/>
            <a:ext cx="10765800" cy="4695825"/>
          </a:xfrm>
          <a:prstGeom prst="rect">
            <a:avLst/>
          </a:prstGeom>
        </p:spPr>
        <p:txBody>
          <a:bodyPr numCol="2">
            <a:normAutofit/>
          </a:bodyPr>
          <a:lstStyle>
            <a:lvl1pPr marL="228600" indent="-228600">
              <a:buFont typeface="Arial" panose="020B0604020202020204" pitchFamily="34" charset="0"/>
              <a:buChar char="•"/>
              <a:defRPr sz="2800">
                <a:solidFill>
                  <a:srgbClr val="11133C"/>
                </a:solidFill>
                <a:latin typeface="Inter" panose="020B0502030000000004" pitchFamily="34" charset="0"/>
                <a:ea typeface="Inter" panose="020B0502030000000004" pitchFamily="34" charset="0"/>
              </a:defRPr>
            </a:lvl1pPr>
            <a:lvl2pPr marL="6858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2pPr>
            <a:lvl3pPr marL="11430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3pPr>
            <a:lvl4pPr marL="16002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4pPr>
            <a:lvl5pPr marL="20574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5pPr>
          </a:lstStyle>
          <a:p>
            <a:pPr lvl="0"/>
            <a:r>
              <a:rPr lang="nb-NO"/>
              <a:t>POINT</a:t>
            </a:r>
          </a:p>
          <a:p>
            <a:pPr lvl="0"/>
            <a:r>
              <a:rPr lang="nb-NO"/>
              <a:t>POINT</a:t>
            </a:r>
          </a:p>
          <a:p>
            <a:pPr lvl="0"/>
            <a:endParaRPr lang="nb-NO"/>
          </a:p>
        </p:txBody>
      </p:sp>
      <p:sp>
        <p:nvSpPr>
          <p:cNvPr id="12" name="Title 2">
            <a:extLst>
              <a:ext uri="{FF2B5EF4-FFF2-40B4-BE49-F238E27FC236}">
                <a16:creationId xmlns:a16="http://schemas.microsoft.com/office/drawing/2014/main" id="{34DC453D-D0CB-424B-9E7F-C74117331CAA}"/>
              </a:ext>
            </a:extLst>
          </p:cNvPr>
          <p:cNvSpPr>
            <a:spLocks noGrp="1"/>
          </p:cNvSpPr>
          <p:nvPr>
            <p:ph type="title" hasCustomPrompt="1"/>
          </p:nvPr>
        </p:nvSpPr>
        <p:spPr>
          <a:xfrm>
            <a:off x="685798" y="881742"/>
            <a:ext cx="10744201"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17544849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ALVSIDE OVERSKRIFT + TEKS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3265040" y="1412776"/>
            <a:ext cx="12995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FF7FC5DC-F4C8-0749-9605-FF4CDA1932FA}"/>
              </a:ext>
            </a:extLst>
          </p:cNvPr>
          <p:cNvSpPr>
            <a:spLocks noGrp="1"/>
          </p:cNvSpPr>
          <p:nvPr>
            <p:ph type="body" sz="quarter" idx="12" hasCustomPrompt="1"/>
          </p:nvPr>
        </p:nvSpPr>
        <p:spPr>
          <a:xfrm>
            <a:off x="1066166" y="3882302"/>
            <a:ext cx="10790872" cy="2642324"/>
          </a:xfrm>
          <a:prstGeom prst="rect">
            <a:avLst/>
          </a:prstGeom>
        </p:spPr>
        <p:txBody>
          <a:bodyPr>
            <a:normAutofit/>
          </a:bodyPr>
          <a:lstStyle>
            <a:lvl1pPr marL="0" indent="0">
              <a:buNone/>
              <a:defRPr>
                <a:solidFill>
                  <a:srgbClr val="11133C"/>
                </a:solidFill>
                <a:latin typeface="Inter" panose="020B0502030000000004" pitchFamily="34" charset="0"/>
                <a:ea typeface="Inter" panose="020B0502030000000004" pitchFamily="34" charset="0"/>
              </a:defRPr>
            </a:lvl1pPr>
            <a:lvl2pPr>
              <a:defRPr>
                <a:solidFill>
                  <a:srgbClr val="F9EAD4"/>
                </a:solidFill>
              </a:defRPr>
            </a:lvl2pPr>
            <a:lvl3pPr>
              <a:defRPr>
                <a:solidFill>
                  <a:srgbClr val="F9EAD4"/>
                </a:solidFill>
              </a:defRPr>
            </a:lvl3pPr>
            <a:lvl4pPr>
              <a:defRPr>
                <a:solidFill>
                  <a:srgbClr val="F9EAD4"/>
                </a:solidFill>
              </a:defRPr>
            </a:lvl4pPr>
            <a:lvl5pPr>
              <a:defRPr>
                <a:solidFill>
                  <a:srgbClr val="F9EAD4"/>
                </a:solidFill>
              </a:defRPr>
            </a:lvl5pPr>
          </a:lstStyle>
          <a:p>
            <a:pPr lvl="0"/>
            <a:r>
              <a:rPr lang="nb-NO">
                <a:latin typeface="Inter" panose="020B0502030000000004" pitchFamily="34" charset="0"/>
                <a:ea typeface="Inter" panose="020B0502030000000004" pitchFamily="34" charset="0"/>
              </a:rPr>
              <a:t>TEXT </a:t>
            </a:r>
            <a:r>
              <a:rPr lang="nb-NO" err="1">
                <a:latin typeface="Inter" panose="020B0502030000000004" pitchFamily="34" charset="0"/>
                <a:ea typeface="Inter" panose="020B0502030000000004" pitchFamily="34" charset="0"/>
              </a:rPr>
              <a:t>box</a:t>
            </a:r>
            <a:endParaRPr lang="nb-NO"/>
          </a:p>
        </p:txBody>
      </p:sp>
      <p:sp>
        <p:nvSpPr>
          <p:cNvPr id="9" name="Title 2">
            <a:extLst>
              <a:ext uri="{FF2B5EF4-FFF2-40B4-BE49-F238E27FC236}">
                <a16:creationId xmlns:a16="http://schemas.microsoft.com/office/drawing/2014/main" id="{0E93537D-CE7E-924A-8E14-09A5F17A3C89}"/>
              </a:ext>
            </a:extLst>
          </p:cNvPr>
          <p:cNvSpPr>
            <a:spLocks noGrp="1"/>
          </p:cNvSpPr>
          <p:nvPr>
            <p:ph type="title" hasCustomPrompt="1"/>
          </p:nvPr>
        </p:nvSpPr>
        <p:spPr>
          <a:xfrm>
            <a:off x="1028699" y="2906485"/>
            <a:ext cx="10874830"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22397823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ALVSIDE OVERSKRIFT + POINT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51D3720B-0F73-3F4C-BC91-BD0E59020444}"/>
              </a:ext>
            </a:extLst>
          </p:cNvPr>
          <p:cNvCxnSpPr>
            <a:cxnSpLocks/>
          </p:cNvCxnSpPr>
          <p:nvPr userDrawn="1"/>
        </p:nvCxnSpPr>
        <p:spPr>
          <a:xfrm>
            <a:off x="-2616968" y="2636912"/>
            <a:ext cx="1199456"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A1296068-D815-0A43-8AD7-34DBAB90525A}"/>
              </a:ext>
            </a:extLst>
          </p:cNvPr>
          <p:cNvSpPr>
            <a:spLocks noGrp="1"/>
          </p:cNvSpPr>
          <p:nvPr>
            <p:ph type="body" sz="quarter" idx="16" hasCustomPrompt="1"/>
          </p:nvPr>
        </p:nvSpPr>
        <p:spPr>
          <a:xfrm>
            <a:off x="701676" y="4336474"/>
            <a:ext cx="10880724" cy="2188152"/>
          </a:xfrm>
          <a:prstGeom prst="rect">
            <a:avLst/>
          </a:prstGeom>
        </p:spPr>
        <p:txBody>
          <a:bodyPr numCol="2">
            <a:normAutofit/>
          </a:bodyPr>
          <a:lstStyle>
            <a:lvl1pPr marL="228600" indent="-228600">
              <a:buFont typeface="Arial" panose="020B0604020202020204" pitchFamily="34" charset="0"/>
              <a:buChar char="•"/>
              <a:defRPr sz="2800">
                <a:solidFill>
                  <a:srgbClr val="11133C"/>
                </a:solidFill>
                <a:latin typeface="Inter" panose="020B0502030000000004" pitchFamily="34" charset="0"/>
                <a:ea typeface="Inter" panose="020B0502030000000004" pitchFamily="34" charset="0"/>
              </a:defRPr>
            </a:lvl1pPr>
            <a:lvl2pPr marL="6858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2pPr>
            <a:lvl3pPr marL="11430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3pPr>
            <a:lvl4pPr marL="16002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4pPr>
            <a:lvl5pPr marL="2057400" indent="-228600">
              <a:buFont typeface="Arial" panose="020B0604020202020204" pitchFamily="34" charset="0"/>
              <a:buChar char="•"/>
              <a:defRPr sz="2800">
                <a:solidFill>
                  <a:srgbClr val="F9EAD4"/>
                </a:solidFill>
                <a:latin typeface="Inter" panose="020B0502030000000004" pitchFamily="34" charset="0"/>
                <a:ea typeface="Inter" panose="020B0502030000000004" pitchFamily="34" charset="0"/>
              </a:defRPr>
            </a:lvl5pPr>
          </a:lstStyle>
          <a:p>
            <a:pPr lvl="0"/>
            <a:r>
              <a:rPr lang="en-GB"/>
              <a:t>Point</a:t>
            </a:r>
          </a:p>
          <a:p>
            <a:pPr lvl="0"/>
            <a:r>
              <a:rPr lang="en-GB"/>
              <a:t>Point</a:t>
            </a:r>
            <a:endParaRPr lang="nb-NO"/>
          </a:p>
        </p:txBody>
      </p:sp>
      <p:sp>
        <p:nvSpPr>
          <p:cNvPr id="10" name="Title 2">
            <a:extLst>
              <a:ext uri="{FF2B5EF4-FFF2-40B4-BE49-F238E27FC236}">
                <a16:creationId xmlns:a16="http://schemas.microsoft.com/office/drawing/2014/main" id="{95F70B86-A9D2-3445-B598-C6470EA9ACF5}"/>
              </a:ext>
            </a:extLst>
          </p:cNvPr>
          <p:cNvSpPr>
            <a:spLocks noGrp="1"/>
          </p:cNvSpPr>
          <p:nvPr>
            <p:ph type="title" hasCustomPrompt="1"/>
          </p:nvPr>
        </p:nvSpPr>
        <p:spPr>
          <a:xfrm>
            <a:off x="947056" y="2922813"/>
            <a:ext cx="10711544"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2135267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indre 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4340225"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1446101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2256928" y="1124744"/>
            <a:ext cx="55138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2ED25A7A-261A-0B43-A8E9-F01017A8A176}"/>
              </a:ext>
            </a:extLst>
          </p:cNvPr>
          <p:cNvSpPr>
            <a:spLocks noGrp="1"/>
          </p:cNvSpPr>
          <p:nvPr>
            <p:ph type="pic" sz="quarter" idx="11" hasCustomPrompt="1"/>
          </p:nvPr>
        </p:nvSpPr>
        <p:spPr>
          <a:xfrm>
            <a:off x="1109752" y="3257640"/>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39" name="Picture Placeholder 8">
            <a:extLst>
              <a:ext uri="{FF2B5EF4-FFF2-40B4-BE49-F238E27FC236}">
                <a16:creationId xmlns:a16="http://schemas.microsoft.com/office/drawing/2014/main" id="{9166DD9E-55E8-7C4D-A3FB-F01421C54124}"/>
              </a:ext>
            </a:extLst>
          </p:cNvPr>
          <p:cNvSpPr>
            <a:spLocks noGrp="1"/>
          </p:cNvSpPr>
          <p:nvPr>
            <p:ph type="pic" sz="quarter" idx="12" hasCustomPrompt="1"/>
          </p:nvPr>
        </p:nvSpPr>
        <p:spPr>
          <a:xfrm>
            <a:off x="2741630" y="3276476"/>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0" name="Picture Placeholder 8">
            <a:extLst>
              <a:ext uri="{FF2B5EF4-FFF2-40B4-BE49-F238E27FC236}">
                <a16:creationId xmlns:a16="http://schemas.microsoft.com/office/drawing/2014/main" id="{869A3281-93B9-D044-95C7-95EE88207E90}"/>
              </a:ext>
            </a:extLst>
          </p:cNvPr>
          <p:cNvSpPr>
            <a:spLocks noGrp="1"/>
          </p:cNvSpPr>
          <p:nvPr>
            <p:ph type="pic" sz="quarter" idx="13" hasCustomPrompt="1"/>
          </p:nvPr>
        </p:nvSpPr>
        <p:spPr>
          <a:xfrm>
            <a:off x="4322138" y="3264490"/>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1" name="Picture Placeholder 8">
            <a:extLst>
              <a:ext uri="{FF2B5EF4-FFF2-40B4-BE49-F238E27FC236}">
                <a16:creationId xmlns:a16="http://schemas.microsoft.com/office/drawing/2014/main" id="{04C4C85B-DBC6-1C48-8254-CC69EED702D3}"/>
              </a:ext>
            </a:extLst>
          </p:cNvPr>
          <p:cNvSpPr>
            <a:spLocks noGrp="1"/>
          </p:cNvSpPr>
          <p:nvPr>
            <p:ph type="pic" sz="quarter" idx="14" hasCustomPrompt="1"/>
          </p:nvPr>
        </p:nvSpPr>
        <p:spPr>
          <a:xfrm>
            <a:off x="5914632" y="3274764"/>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2" name="Picture Placeholder 8">
            <a:extLst>
              <a:ext uri="{FF2B5EF4-FFF2-40B4-BE49-F238E27FC236}">
                <a16:creationId xmlns:a16="http://schemas.microsoft.com/office/drawing/2014/main" id="{E176FB11-84E3-7D49-9208-B88D1A3862F9}"/>
              </a:ext>
            </a:extLst>
          </p:cNvPr>
          <p:cNvSpPr>
            <a:spLocks noGrp="1"/>
          </p:cNvSpPr>
          <p:nvPr>
            <p:ph type="pic" sz="quarter" idx="15" hasCustomPrompt="1"/>
          </p:nvPr>
        </p:nvSpPr>
        <p:spPr>
          <a:xfrm>
            <a:off x="7548224" y="3274763"/>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3" name="Picture Placeholder 8">
            <a:extLst>
              <a:ext uri="{FF2B5EF4-FFF2-40B4-BE49-F238E27FC236}">
                <a16:creationId xmlns:a16="http://schemas.microsoft.com/office/drawing/2014/main" id="{51E255ED-408C-D643-901C-F53FAC705403}"/>
              </a:ext>
            </a:extLst>
          </p:cNvPr>
          <p:cNvSpPr>
            <a:spLocks noGrp="1"/>
          </p:cNvSpPr>
          <p:nvPr>
            <p:ph type="pic" sz="quarter" idx="16" hasCustomPrompt="1"/>
          </p:nvPr>
        </p:nvSpPr>
        <p:spPr>
          <a:xfrm>
            <a:off x="9140717" y="3274764"/>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23" name="Text Placeholder 43">
            <a:extLst>
              <a:ext uri="{FF2B5EF4-FFF2-40B4-BE49-F238E27FC236}">
                <a16:creationId xmlns:a16="http://schemas.microsoft.com/office/drawing/2014/main" id="{35CFAD26-538C-DC40-8739-EEB6E082782A}"/>
              </a:ext>
            </a:extLst>
          </p:cNvPr>
          <p:cNvSpPr>
            <a:spLocks noGrp="1"/>
          </p:cNvSpPr>
          <p:nvPr>
            <p:ph type="body" sz="quarter" idx="17" hasCustomPrompt="1"/>
          </p:nvPr>
        </p:nvSpPr>
        <p:spPr>
          <a:xfrm>
            <a:off x="998113" y="5354956"/>
            <a:ext cx="1440287" cy="1079298"/>
          </a:xfrm>
          <a:prstGeom prst="rect">
            <a:avLst/>
          </a:prstGeom>
        </p:spPr>
        <p:txBody>
          <a:bodyPr/>
          <a:lstStyle>
            <a:lvl1pPr marL="0" indent="0">
              <a:buNone/>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UX DESIGNER</a:t>
            </a:r>
          </a:p>
          <a:p>
            <a:pPr lvl="0"/>
            <a:endParaRPr lang="en-NO"/>
          </a:p>
          <a:p>
            <a:pPr lvl="0"/>
            <a:r>
              <a:rPr lang="en-NO"/>
              <a:t>Hen Hennesen </a:t>
            </a:r>
          </a:p>
        </p:txBody>
      </p:sp>
      <p:sp>
        <p:nvSpPr>
          <p:cNvPr id="24" name="Text Placeholder 43">
            <a:extLst>
              <a:ext uri="{FF2B5EF4-FFF2-40B4-BE49-F238E27FC236}">
                <a16:creationId xmlns:a16="http://schemas.microsoft.com/office/drawing/2014/main" id="{F815205D-535C-8740-9807-E1417C6FB20A}"/>
              </a:ext>
            </a:extLst>
          </p:cNvPr>
          <p:cNvSpPr>
            <a:spLocks noGrp="1"/>
          </p:cNvSpPr>
          <p:nvPr>
            <p:ph type="body" sz="quarter" idx="18" hasCustomPrompt="1"/>
          </p:nvPr>
        </p:nvSpPr>
        <p:spPr>
          <a:xfrm>
            <a:off x="2631584" y="5352807"/>
            <a:ext cx="1419716" cy="10925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DESIGNER</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5" name="Text Placeholder 43">
            <a:extLst>
              <a:ext uri="{FF2B5EF4-FFF2-40B4-BE49-F238E27FC236}">
                <a16:creationId xmlns:a16="http://schemas.microsoft.com/office/drawing/2014/main" id="{0E0ADA14-42CE-3A44-A1D7-BFDD99E7CBAD}"/>
              </a:ext>
            </a:extLst>
          </p:cNvPr>
          <p:cNvSpPr>
            <a:spLocks noGrp="1"/>
          </p:cNvSpPr>
          <p:nvPr>
            <p:ph type="body" sz="quarter" idx="19" hasCustomPrompt="1"/>
          </p:nvPr>
        </p:nvSpPr>
        <p:spPr>
          <a:xfrm>
            <a:off x="4222126" y="5352810"/>
            <a:ext cx="1416674" cy="110374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TEKSTFORFATTER</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6" name="Text Placeholder 43">
            <a:extLst>
              <a:ext uri="{FF2B5EF4-FFF2-40B4-BE49-F238E27FC236}">
                <a16:creationId xmlns:a16="http://schemas.microsoft.com/office/drawing/2014/main" id="{F2CF862D-C493-6E4A-A55E-7594836AD723}"/>
              </a:ext>
            </a:extLst>
          </p:cNvPr>
          <p:cNvSpPr>
            <a:spLocks noGrp="1"/>
          </p:cNvSpPr>
          <p:nvPr>
            <p:ph type="body" sz="quarter" idx="20" hasCustomPrompt="1"/>
          </p:nvPr>
        </p:nvSpPr>
        <p:spPr>
          <a:xfrm>
            <a:off x="5808371" y="5357092"/>
            <a:ext cx="1417930" cy="110720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KONSULENT</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7" name="Text Placeholder 43">
            <a:extLst>
              <a:ext uri="{FF2B5EF4-FFF2-40B4-BE49-F238E27FC236}">
                <a16:creationId xmlns:a16="http://schemas.microsoft.com/office/drawing/2014/main" id="{2859779A-FCC8-E140-92E1-24B44242F5C9}"/>
              </a:ext>
            </a:extLst>
          </p:cNvPr>
          <p:cNvSpPr>
            <a:spLocks noGrp="1"/>
          </p:cNvSpPr>
          <p:nvPr>
            <p:ph type="body" sz="quarter" idx="21" hasCustomPrompt="1"/>
          </p:nvPr>
        </p:nvSpPr>
        <p:spPr>
          <a:xfrm>
            <a:off x="7454542" y="5361378"/>
            <a:ext cx="1410058" cy="1128321"/>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UTVIKLER</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8" name="Text Placeholder 43">
            <a:extLst>
              <a:ext uri="{FF2B5EF4-FFF2-40B4-BE49-F238E27FC236}">
                <a16:creationId xmlns:a16="http://schemas.microsoft.com/office/drawing/2014/main" id="{23BCB34F-67C0-6B4C-AE10-FC8302FEB774}"/>
              </a:ext>
            </a:extLst>
          </p:cNvPr>
          <p:cNvSpPr>
            <a:spLocks noGrp="1"/>
          </p:cNvSpPr>
          <p:nvPr>
            <p:ph type="body" sz="quarter" idx="22" hasCustomPrompt="1"/>
          </p:nvPr>
        </p:nvSpPr>
        <p:spPr>
          <a:xfrm>
            <a:off x="9036676" y="5352792"/>
            <a:ext cx="1440824" cy="114960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ARKITEKT</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17" name="Title 2">
            <a:extLst>
              <a:ext uri="{FF2B5EF4-FFF2-40B4-BE49-F238E27FC236}">
                <a16:creationId xmlns:a16="http://schemas.microsoft.com/office/drawing/2014/main" id="{FE6DB086-C28E-2948-8337-1F096FC6BAEB}"/>
              </a:ext>
            </a:extLst>
          </p:cNvPr>
          <p:cNvSpPr>
            <a:spLocks noGrp="1"/>
          </p:cNvSpPr>
          <p:nvPr>
            <p:ph type="title" hasCustomPrompt="1"/>
          </p:nvPr>
        </p:nvSpPr>
        <p:spPr>
          <a:xfrm>
            <a:off x="996041" y="1747156"/>
            <a:ext cx="9241973"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2672825075"/>
      </p:ext>
    </p:extLst>
  </p:cSld>
  <p:clrMapOvr>
    <a:masterClrMapping/>
  </p:clrMapOvr>
  <p:extLst>
    <p:ext uri="{DCECCB84-F9BA-43D5-87BE-67443E8EF086}">
      <p15:sldGuideLst xmlns:p15="http://schemas.microsoft.com/office/powerpoint/2012/main">
        <p15:guide id="1" pos="98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4 BILDET + TEKS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FE7617F-1713-6E46-B84A-8052BACCF13F}"/>
              </a:ext>
            </a:extLst>
          </p:cNvPr>
          <p:cNvSpPr>
            <a:spLocks noGrp="1"/>
          </p:cNvSpPr>
          <p:nvPr>
            <p:ph type="pic" sz="quarter" idx="12" hasCustomPrompt="1"/>
          </p:nvPr>
        </p:nvSpPr>
        <p:spPr>
          <a:xfrm>
            <a:off x="1052281" y="1003262"/>
            <a:ext cx="6958012" cy="3959225"/>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
        <p:nvSpPr>
          <p:cNvPr id="5" name="Text Placeholder 2">
            <a:extLst>
              <a:ext uri="{FF2B5EF4-FFF2-40B4-BE49-F238E27FC236}">
                <a16:creationId xmlns:a16="http://schemas.microsoft.com/office/drawing/2014/main" id="{BDBA800F-3958-E04A-9AFD-0A31EFA1F961}"/>
              </a:ext>
            </a:extLst>
          </p:cNvPr>
          <p:cNvSpPr>
            <a:spLocks noGrp="1"/>
          </p:cNvSpPr>
          <p:nvPr>
            <p:ph type="body" sz="quarter" idx="13" hasCustomPrompt="1"/>
          </p:nvPr>
        </p:nvSpPr>
        <p:spPr>
          <a:xfrm>
            <a:off x="955330" y="5406302"/>
            <a:ext cx="10613215" cy="1118323"/>
          </a:xfrm>
          <a:prstGeom prst="rect">
            <a:avLst/>
          </a:prstGeom>
        </p:spPr>
        <p:txBody>
          <a:bodyPr>
            <a:normAutofit/>
          </a:bodyPr>
          <a:lstStyle>
            <a:lvl1pPr marL="0" indent="0">
              <a:buNone/>
              <a:defRPr>
                <a:solidFill>
                  <a:srgbClr val="11133C"/>
                </a:solidFill>
                <a:latin typeface="Inter" panose="020B0502030000000004" pitchFamily="34" charset="0"/>
                <a:ea typeface="Inter" panose="020B0502030000000004" pitchFamily="34" charset="0"/>
              </a:defRPr>
            </a:lvl1pPr>
            <a:lvl2pPr>
              <a:defRPr>
                <a:solidFill>
                  <a:srgbClr val="F9EAD4"/>
                </a:solidFill>
              </a:defRPr>
            </a:lvl2pPr>
            <a:lvl3pPr>
              <a:defRPr>
                <a:solidFill>
                  <a:srgbClr val="F9EAD4"/>
                </a:solidFill>
              </a:defRPr>
            </a:lvl3pPr>
            <a:lvl4pPr>
              <a:defRPr>
                <a:solidFill>
                  <a:srgbClr val="F9EAD4"/>
                </a:solidFill>
              </a:defRPr>
            </a:lvl4pPr>
            <a:lvl5pPr>
              <a:defRPr>
                <a:solidFill>
                  <a:srgbClr val="F9EAD4"/>
                </a:solidFill>
              </a:defRPr>
            </a:lvl5pPr>
          </a:lstStyle>
          <a:p>
            <a:pPr lvl="0"/>
            <a:r>
              <a:rPr lang="nb-NO">
                <a:latin typeface="Inter" panose="020B0502030000000004" pitchFamily="34" charset="0"/>
                <a:ea typeface="Inter" panose="020B0502030000000004" pitchFamily="34" charset="0"/>
              </a:rPr>
              <a:t>TEXT </a:t>
            </a:r>
            <a:r>
              <a:rPr lang="nb-NO" err="1">
                <a:latin typeface="Inter" panose="020B0502030000000004" pitchFamily="34" charset="0"/>
                <a:ea typeface="Inter" panose="020B0502030000000004" pitchFamily="34" charset="0"/>
              </a:rPr>
              <a:t>box</a:t>
            </a:r>
            <a:endParaRPr lang="nb-NO"/>
          </a:p>
        </p:txBody>
      </p:sp>
    </p:spTree>
    <p:extLst>
      <p:ext uri="{BB962C8B-B14F-4D97-AF65-F5344CB8AC3E}">
        <p14:creationId xmlns:p14="http://schemas.microsoft.com/office/powerpoint/2010/main" val="3103352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OBBELBILDET + TEKST">
    <p:spTree>
      <p:nvGrpSpPr>
        <p:cNvPr id="1" name=""/>
        <p:cNvGrpSpPr/>
        <p:nvPr/>
      </p:nvGrpSpPr>
      <p:grpSpPr>
        <a:xfrm>
          <a:off x="0" y="0"/>
          <a:ext cx="0" cy="0"/>
          <a:chOff x="0" y="0"/>
          <a:chExt cx="0" cy="0"/>
        </a:xfrm>
      </p:grpSpPr>
      <p:sp>
        <p:nvSpPr>
          <p:cNvPr id="19" name="Picture Placeholder 7">
            <a:extLst>
              <a:ext uri="{FF2B5EF4-FFF2-40B4-BE49-F238E27FC236}">
                <a16:creationId xmlns:a16="http://schemas.microsoft.com/office/drawing/2014/main" id="{CF76C671-882D-0740-A734-C3051BB54DC3}"/>
              </a:ext>
            </a:extLst>
          </p:cNvPr>
          <p:cNvSpPr>
            <a:spLocks noGrp="1"/>
          </p:cNvSpPr>
          <p:nvPr>
            <p:ph type="pic" sz="quarter" idx="15"/>
          </p:nvPr>
        </p:nvSpPr>
        <p:spPr>
          <a:xfrm>
            <a:off x="6914105" y="4906362"/>
            <a:ext cx="3865408" cy="3903275"/>
          </a:xfrm>
          <a:prstGeom prst="rect">
            <a:avLst/>
          </a:prstGeom>
        </p:spPr>
        <p:txBody>
          <a:bodyPr anchor="t"/>
          <a:lstStyle>
            <a:lvl1pPr marL="0" indent="0" algn="ctr">
              <a:buNone/>
              <a:defRPr sz="1600" b="1">
                <a:solidFill>
                  <a:srgbClr val="11133C"/>
                </a:solidFill>
                <a:latin typeface="Inter" panose="020B0502030000000004" pitchFamily="34" charset="0"/>
                <a:ea typeface="Inter" panose="020B0502030000000004" pitchFamily="34" charset="0"/>
              </a:defRPr>
            </a:lvl1pPr>
          </a:lstStyle>
          <a:p>
            <a:endParaRPr lang="en-NO">
              <a:latin typeface="Inter" panose="020B0502030000000004" pitchFamily="34" charset="0"/>
              <a:ea typeface="Inter" panose="020B0502030000000004" pitchFamily="34" charset="0"/>
            </a:endParaRPr>
          </a:p>
          <a:p>
            <a:endParaRPr lang="en-NO">
              <a:latin typeface="Inter" panose="020B0502030000000004" pitchFamily="34" charset="0"/>
              <a:ea typeface="Inter" panose="020B0502030000000004" pitchFamily="34" charset="0"/>
            </a:endParaRPr>
          </a:p>
          <a:p>
            <a:endParaRPr lang="en-NO">
              <a:latin typeface="Inter" panose="020B0502030000000004" pitchFamily="34" charset="0"/>
              <a:ea typeface="Inter" panose="020B0502030000000004" pitchFamily="34" charset="0"/>
            </a:endParaRPr>
          </a:p>
          <a:p>
            <a:r>
              <a:rPr lang="en-NO">
                <a:latin typeface="Inter" panose="020B0502030000000004" pitchFamily="34" charset="0"/>
                <a:ea typeface="Inter" panose="020B0502030000000004" pitchFamily="34" charset="0"/>
              </a:rPr>
              <a:t>BILDE</a:t>
            </a:r>
            <a:endParaRPr lang="en-NO"/>
          </a:p>
        </p:txBody>
      </p:sp>
      <p:sp>
        <p:nvSpPr>
          <p:cNvPr id="18" name="Picture Placeholder 7">
            <a:extLst>
              <a:ext uri="{FF2B5EF4-FFF2-40B4-BE49-F238E27FC236}">
                <a16:creationId xmlns:a16="http://schemas.microsoft.com/office/drawing/2014/main" id="{24436813-6B3D-6041-A35C-894FBD82894F}"/>
              </a:ext>
            </a:extLst>
          </p:cNvPr>
          <p:cNvSpPr>
            <a:spLocks noGrp="1"/>
          </p:cNvSpPr>
          <p:nvPr>
            <p:ph type="pic" sz="quarter" idx="14" hasCustomPrompt="1"/>
          </p:nvPr>
        </p:nvSpPr>
        <p:spPr>
          <a:xfrm>
            <a:off x="840407" y="646423"/>
            <a:ext cx="3865408" cy="3903275"/>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
        <p:nvSpPr>
          <p:cNvPr id="10" name="Text Placeholder 2">
            <a:extLst>
              <a:ext uri="{FF2B5EF4-FFF2-40B4-BE49-F238E27FC236}">
                <a16:creationId xmlns:a16="http://schemas.microsoft.com/office/drawing/2014/main" id="{9DB9922A-E308-3D4C-B5BE-2D86033CBDF9}"/>
              </a:ext>
            </a:extLst>
          </p:cNvPr>
          <p:cNvSpPr>
            <a:spLocks noGrp="1"/>
          </p:cNvSpPr>
          <p:nvPr>
            <p:ph type="body" sz="quarter" idx="18" hasCustomPrompt="1"/>
          </p:nvPr>
        </p:nvSpPr>
        <p:spPr>
          <a:xfrm>
            <a:off x="789393" y="5641830"/>
            <a:ext cx="3976572" cy="882796"/>
          </a:xfrm>
          <a:prstGeom prst="rect">
            <a:avLst/>
          </a:prstGeom>
        </p:spPr>
        <p:txBody>
          <a:bodyPr>
            <a:normAutofit/>
          </a:bodyPr>
          <a:lstStyle>
            <a:lvl1pPr marL="0" indent="0">
              <a:buNone/>
              <a:defRPr sz="1800">
                <a:solidFill>
                  <a:srgbClr val="11133C"/>
                </a:solidFill>
                <a:latin typeface="Inter" panose="020B0502030000000004" pitchFamily="34" charset="0"/>
                <a:ea typeface="Inter" panose="020B0502030000000004" pitchFamily="34" charset="0"/>
              </a:defRPr>
            </a:lvl1pPr>
            <a:lvl2pPr>
              <a:defRPr>
                <a:solidFill>
                  <a:srgbClr val="F9EAD4"/>
                </a:solidFill>
              </a:defRPr>
            </a:lvl2pPr>
            <a:lvl3pPr>
              <a:defRPr>
                <a:solidFill>
                  <a:srgbClr val="F9EAD4"/>
                </a:solidFill>
              </a:defRPr>
            </a:lvl3pPr>
            <a:lvl4pPr>
              <a:defRPr>
                <a:solidFill>
                  <a:srgbClr val="F9EAD4"/>
                </a:solidFill>
              </a:defRPr>
            </a:lvl4pPr>
            <a:lvl5pPr>
              <a:defRPr>
                <a:solidFill>
                  <a:srgbClr val="F9EAD4"/>
                </a:solidFill>
              </a:defRPr>
            </a:lvl5pPr>
          </a:lstStyle>
          <a:p>
            <a:pPr lvl="0"/>
            <a:r>
              <a:rPr lang="nb-NO">
                <a:latin typeface="Inter" panose="020B0502030000000004" pitchFamily="34" charset="0"/>
                <a:ea typeface="Inter" panose="020B0502030000000004" pitchFamily="34" charset="0"/>
              </a:rPr>
              <a:t>Fyll inn tekst </a:t>
            </a:r>
            <a:endParaRPr lang="nb-NO"/>
          </a:p>
        </p:txBody>
      </p:sp>
      <p:sp>
        <p:nvSpPr>
          <p:cNvPr id="12" name="Text Placeholder 2">
            <a:extLst>
              <a:ext uri="{FF2B5EF4-FFF2-40B4-BE49-F238E27FC236}">
                <a16:creationId xmlns:a16="http://schemas.microsoft.com/office/drawing/2014/main" id="{A3459D8E-A9A0-5645-B0C3-4739E65AC543}"/>
              </a:ext>
            </a:extLst>
          </p:cNvPr>
          <p:cNvSpPr>
            <a:spLocks noGrp="1"/>
          </p:cNvSpPr>
          <p:nvPr>
            <p:ph type="body" sz="quarter" idx="20" hasCustomPrompt="1"/>
          </p:nvPr>
        </p:nvSpPr>
        <p:spPr>
          <a:xfrm>
            <a:off x="6899564" y="3425102"/>
            <a:ext cx="3893128" cy="1188462"/>
          </a:xfrm>
          <a:prstGeom prst="rect">
            <a:avLst/>
          </a:prstGeom>
        </p:spPr>
        <p:txBody>
          <a:bodyPr>
            <a:normAutofit/>
          </a:bodyPr>
          <a:lstStyle>
            <a:lvl1pPr marL="0" indent="0">
              <a:buNone/>
              <a:defRPr sz="1800">
                <a:solidFill>
                  <a:srgbClr val="11133C"/>
                </a:solidFill>
                <a:latin typeface="Inter" panose="020B0502030000000004" pitchFamily="34" charset="0"/>
                <a:ea typeface="Inter" panose="020B0502030000000004" pitchFamily="34" charset="0"/>
              </a:defRPr>
            </a:lvl1pPr>
            <a:lvl2pPr>
              <a:defRPr>
                <a:solidFill>
                  <a:srgbClr val="F9EAD4"/>
                </a:solidFill>
              </a:defRPr>
            </a:lvl2pPr>
            <a:lvl3pPr>
              <a:defRPr>
                <a:solidFill>
                  <a:srgbClr val="F9EAD4"/>
                </a:solidFill>
              </a:defRPr>
            </a:lvl3pPr>
            <a:lvl4pPr>
              <a:defRPr>
                <a:solidFill>
                  <a:srgbClr val="F9EAD4"/>
                </a:solidFill>
              </a:defRPr>
            </a:lvl4pPr>
            <a:lvl5pPr>
              <a:defRPr>
                <a:solidFill>
                  <a:srgbClr val="F9EAD4"/>
                </a:solidFill>
              </a:defRPr>
            </a:lvl5pPr>
          </a:lstStyle>
          <a:p>
            <a:pPr lvl="0"/>
            <a:r>
              <a:rPr lang="nb-NO">
                <a:latin typeface="Inter" panose="020B0502030000000004" pitchFamily="34" charset="0"/>
                <a:ea typeface="Inter" panose="020B0502030000000004" pitchFamily="34" charset="0"/>
              </a:rPr>
              <a:t>Fyll inn tekst </a:t>
            </a:r>
            <a:endParaRPr lang="nb-NO"/>
          </a:p>
        </p:txBody>
      </p:sp>
      <p:sp>
        <p:nvSpPr>
          <p:cNvPr id="20" name="Title 3">
            <a:extLst>
              <a:ext uri="{FF2B5EF4-FFF2-40B4-BE49-F238E27FC236}">
                <a16:creationId xmlns:a16="http://schemas.microsoft.com/office/drawing/2014/main" id="{7CF5B1B3-411F-E547-A9EA-15ACD46857DB}"/>
              </a:ext>
            </a:extLst>
          </p:cNvPr>
          <p:cNvSpPr>
            <a:spLocks noGrp="1"/>
          </p:cNvSpPr>
          <p:nvPr>
            <p:ph type="title" hasCustomPrompt="1"/>
          </p:nvPr>
        </p:nvSpPr>
        <p:spPr>
          <a:xfrm>
            <a:off x="6882448" y="2908091"/>
            <a:ext cx="3940450" cy="361637"/>
          </a:xfrm>
          <a:prstGeom prst="rect">
            <a:avLst/>
          </a:prstGeom>
        </p:spPr>
        <p:txBody>
          <a:bodyPr>
            <a:normAutofit/>
          </a:bodyPr>
          <a:lstStyle>
            <a:lvl1pPr>
              <a:defRPr sz="2400" b="1">
                <a:solidFill>
                  <a:srgbClr val="11133C"/>
                </a:solidFill>
                <a:latin typeface="Inter" panose="020B0502030000000004" pitchFamily="34" charset="0"/>
                <a:ea typeface="Inter" panose="020B0502030000000004" pitchFamily="34" charset="0"/>
              </a:defRPr>
            </a:lvl1pPr>
          </a:lstStyle>
          <a:p>
            <a:r>
              <a:rPr lang="en-GB" b="1"/>
              <a:t>OVERSKRIFT / </a:t>
            </a:r>
            <a:r>
              <a:rPr lang="en-GB" b="1" err="1"/>
              <a:t>overskrift</a:t>
            </a:r>
            <a:r>
              <a:rPr lang="en-GB" b="1"/>
              <a:t>    </a:t>
            </a:r>
            <a:endParaRPr lang="nb-NO"/>
          </a:p>
        </p:txBody>
      </p:sp>
      <p:sp>
        <p:nvSpPr>
          <p:cNvPr id="21" name="Title 3">
            <a:extLst>
              <a:ext uri="{FF2B5EF4-FFF2-40B4-BE49-F238E27FC236}">
                <a16:creationId xmlns:a16="http://schemas.microsoft.com/office/drawing/2014/main" id="{E9BD81EE-13F7-4A4F-A011-39A246AA71DB}"/>
              </a:ext>
            </a:extLst>
          </p:cNvPr>
          <p:cNvSpPr txBox="1">
            <a:spLocks/>
          </p:cNvSpPr>
          <p:nvPr userDrawn="1"/>
        </p:nvSpPr>
        <p:spPr>
          <a:xfrm>
            <a:off x="766462" y="5126636"/>
            <a:ext cx="4015400" cy="391618"/>
          </a:xfrm>
          <a:prstGeom prst="rect">
            <a:avLst/>
          </a:prstGeom>
        </p:spPr>
        <p:txBody>
          <a:bodyPr>
            <a:normAutofit fontScale="92500" lnSpcReduction="10000"/>
          </a:bodyPr>
          <a:lstStyle>
            <a:lvl1pPr algn="l" defTabSz="914400" rtl="0" eaLnBrk="1" latinLnBrk="0" hangingPunct="1">
              <a:lnSpc>
                <a:spcPct val="90000"/>
              </a:lnSpc>
              <a:spcBef>
                <a:spcPct val="0"/>
              </a:spcBef>
              <a:buNone/>
              <a:defRPr sz="2400" b="1" kern="1200">
                <a:solidFill>
                  <a:srgbClr val="11133C"/>
                </a:solidFill>
                <a:latin typeface="Inter" panose="020B0502030000000004" pitchFamily="34" charset="0"/>
                <a:ea typeface="Inter" panose="020B0502030000000004" pitchFamily="34" charset="0"/>
                <a:cs typeface="+mj-cs"/>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22233445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ERTIKALDELT BILDET + TEKST">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FBDFA3C1-F872-0847-9544-A55FC81CE32D}"/>
              </a:ext>
            </a:extLst>
          </p:cNvPr>
          <p:cNvSpPr>
            <a:spLocks noGrp="1"/>
          </p:cNvSpPr>
          <p:nvPr>
            <p:ph type="pic" sz="quarter" idx="14" hasCustomPrompt="1"/>
          </p:nvPr>
        </p:nvSpPr>
        <p:spPr>
          <a:xfrm>
            <a:off x="0" y="0"/>
            <a:ext cx="6099717" cy="6858000"/>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cxnSp>
        <p:nvCxnSpPr>
          <p:cNvPr id="7" name="Straight Connector 6">
            <a:extLst>
              <a:ext uri="{FF2B5EF4-FFF2-40B4-BE49-F238E27FC236}">
                <a16:creationId xmlns:a16="http://schemas.microsoft.com/office/drawing/2014/main" id="{8335B2F0-4006-E840-87DB-4E69D177336A}"/>
              </a:ext>
            </a:extLst>
          </p:cNvPr>
          <p:cNvCxnSpPr>
            <a:cxnSpLocks/>
          </p:cNvCxnSpPr>
          <p:nvPr userDrawn="1"/>
        </p:nvCxnSpPr>
        <p:spPr>
          <a:xfrm>
            <a:off x="6311627" y="-3411760"/>
            <a:ext cx="12961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A09A490D-63A4-A74B-B160-6AAE5E0AD799}"/>
              </a:ext>
            </a:extLst>
          </p:cNvPr>
          <p:cNvSpPr>
            <a:spLocks noGrp="1"/>
          </p:cNvSpPr>
          <p:nvPr>
            <p:ph type="body" sz="quarter" idx="18" hasCustomPrompt="1"/>
          </p:nvPr>
        </p:nvSpPr>
        <p:spPr>
          <a:xfrm>
            <a:off x="7578120" y="3681623"/>
            <a:ext cx="3976572" cy="2843001"/>
          </a:xfrm>
          <a:prstGeom prst="rect">
            <a:avLst/>
          </a:prstGeom>
        </p:spPr>
        <p:txBody>
          <a:bodyPr>
            <a:normAutofit/>
          </a:bodyPr>
          <a:lstStyle>
            <a:lvl1pPr marL="0" indent="0">
              <a:buNone/>
              <a:defRPr sz="1800">
                <a:solidFill>
                  <a:srgbClr val="11133C"/>
                </a:solidFill>
                <a:latin typeface="Inter" panose="020B0502030000000004" pitchFamily="34" charset="0"/>
                <a:ea typeface="Inter" panose="020B0502030000000004" pitchFamily="34" charset="0"/>
              </a:defRPr>
            </a:lvl1pPr>
            <a:lvl2pPr>
              <a:defRPr>
                <a:solidFill>
                  <a:srgbClr val="F9EAD4"/>
                </a:solidFill>
              </a:defRPr>
            </a:lvl2pPr>
            <a:lvl3pPr>
              <a:defRPr>
                <a:solidFill>
                  <a:srgbClr val="F9EAD4"/>
                </a:solidFill>
              </a:defRPr>
            </a:lvl3pPr>
            <a:lvl4pPr>
              <a:defRPr>
                <a:solidFill>
                  <a:srgbClr val="F9EAD4"/>
                </a:solidFill>
              </a:defRPr>
            </a:lvl4pPr>
            <a:lvl5pPr>
              <a:defRPr>
                <a:solidFill>
                  <a:srgbClr val="F9EAD4"/>
                </a:solidFill>
              </a:defRPr>
            </a:lvl5pPr>
          </a:lstStyle>
          <a:p>
            <a:pPr lvl="0"/>
            <a:r>
              <a:rPr lang="nb-NO">
                <a:latin typeface="Inter" panose="020B0502030000000004" pitchFamily="34" charset="0"/>
                <a:ea typeface="Inter" panose="020B0502030000000004" pitchFamily="34" charset="0"/>
              </a:rPr>
              <a:t>Fyll inn tekst </a:t>
            </a:r>
            <a:endParaRPr lang="nb-NO"/>
          </a:p>
        </p:txBody>
      </p:sp>
      <p:sp>
        <p:nvSpPr>
          <p:cNvPr id="13" name="Title 3">
            <a:extLst>
              <a:ext uri="{FF2B5EF4-FFF2-40B4-BE49-F238E27FC236}">
                <a16:creationId xmlns:a16="http://schemas.microsoft.com/office/drawing/2014/main" id="{AF06ADF9-A2BF-5447-9193-32DB998F37B3}"/>
              </a:ext>
            </a:extLst>
          </p:cNvPr>
          <p:cNvSpPr>
            <a:spLocks noGrp="1"/>
          </p:cNvSpPr>
          <p:nvPr>
            <p:ph type="title" hasCustomPrompt="1"/>
          </p:nvPr>
        </p:nvSpPr>
        <p:spPr>
          <a:xfrm>
            <a:off x="7571995" y="3162924"/>
            <a:ext cx="4015402" cy="391618"/>
          </a:xfrm>
          <a:prstGeom prst="rect">
            <a:avLst/>
          </a:prstGeom>
        </p:spPr>
        <p:txBody>
          <a:bodyPr>
            <a:normAutofit/>
          </a:bodyPr>
          <a:lstStyle>
            <a:lvl1pPr>
              <a:defRPr sz="2400" b="1">
                <a:solidFill>
                  <a:srgbClr val="11133C"/>
                </a:solidFill>
                <a:latin typeface="Inter" panose="020B0502030000000004" pitchFamily="34" charset="0"/>
                <a:ea typeface="Inter" panose="020B0502030000000004" pitchFamily="34" charset="0"/>
              </a:defRPr>
            </a:lvl1pPr>
          </a:lstStyle>
          <a:p>
            <a:r>
              <a:rPr lang="en-GB" b="1"/>
              <a:t>OVERSKRIFT / </a:t>
            </a:r>
            <a:r>
              <a:rPr lang="en-GB" b="1" err="1"/>
              <a:t>overskrift</a:t>
            </a:r>
            <a:r>
              <a:rPr lang="en-GB" b="1"/>
              <a:t>    </a:t>
            </a:r>
            <a:endParaRPr lang="nb-NO"/>
          </a:p>
        </p:txBody>
      </p:sp>
    </p:spTree>
    <p:extLst>
      <p:ext uri="{BB962C8B-B14F-4D97-AF65-F5344CB8AC3E}">
        <p14:creationId xmlns:p14="http://schemas.microsoft.com/office/powerpoint/2010/main" val="373032596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HELDEKKENDE BILDET + TEKST">
    <p:spTree>
      <p:nvGrpSpPr>
        <p:cNvPr id="1" name=""/>
        <p:cNvGrpSpPr/>
        <p:nvPr/>
      </p:nvGrpSpPr>
      <p:grpSpPr>
        <a:xfrm>
          <a:off x="0" y="0"/>
          <a:ext cx="0" cy="0"/>
          <a:chOff x="0" y="0"/>
          <a:chExt cx="0" cy="0"/>
        </a:xfrm>
      </p:grpSpPr>
      <p:sp>
        <p:nvSpPr>
          <p:cNvPr id="16" name="Picture Placeholder 7">
            <a:extLst>
              <a:ext uri="{FF2B5EF4-FFF2-40B4-BE49-F238E27FC236}">
                <a16:creationId xmlns:a16="http://schemas.microsoft.com/office/drawing/2014/main" id="{DDC61C69-7FAC-EB45-A815-46BB22141150}"/>
              </a:ext>
            </a:extLst>
          </p:cNvPr>
          <p:cNvSpPr>
            <a:spLocks noGrp="1"/>
          </p:cNvSpPr>
          <p:nvPr>
            <p:ph type="pic" sz="quarter" idx="15" hasCustomPrompt="1"/>
          </p:nvPr>
        </p:nvSpPr>
        <p:spPr>
          <a:xfrm>
            <a:off x="0" y="0"/>
            <a:ext cx="12192000" cy="6858000"/>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
        <p:nvSpPr>
          <p:cNvPr id="15" name="SmartArt Placeholder 14">
            <a:extLst>
              <a:ext uri="{FF2B5EF4-FFF2-40B4-BE49-F238E27FC236}">
                <a16:creationId xmlns:a16="http://schemas.microsoft.com/office/drawing/2014/main" id="{7390C12F-1AD1-0243-9393-A021808834AC}"/>
              </a:ext>
            </a:extLst>
          </p:cNvPr>
          <p:cNvSpPr>
            <a:spLocks noGrp="1"/>
          </p:cNvSpPr>
          <p:nvPr>
            <p:ph type="dgm" sz="quarter" idx="14"/>
          </p:nvPr>
        </p:nvSpPr>
        <p:spPr>
          <a:xfrm>
            <a:off x="791930" y="3736279"/>
            <a:ext cx="4582957" cy="2743200"/>
          </a:xfrm>
          <a:prstGeom prst="rect">
            <a:avLst/>
          </a:prstGeom>
          <a:solidFill>
            <a:srgbClr val="F9EAD4"/>
          </a:solidFill>
        </p:spPr>
        <p:txBody>
          <a:bodyPr/>
          <a:lstStyle>
            <a:lvl1pPr>
              <a:defRPr>
                <a:solidFill>
                  <a:srgbClr val="F9EAD4"/>
                </a:solidFill>
              </a:defRPr>
            </a:lvl1pPr>
          </a:lstStyle>
          <a:p>
            <a:endParaRPr lang="en-NO"/>
          </a:p>
        </p:txBody>
      </p:sp>
      <p:cxnSp>
        <p:nvCxnSpPr>
          <p:cNvPr id="7" name="Straight Connector 6">
            <a:extLst>
              <a:ext uri="{FF2B5EF4-FFF2-40B4-BE49-F238E27FC236}">
                <a16:creationId xmlns:a16="http://schemas.microsoft.com/office/drawing/2014/main" id="{8335B2F0-4006-E840-87DB-4E69D177336A}"/>
              </a:ext>
            </a:extLst>
          </p:cNvPr>
          <p:cNvCxnSpPr>
            <a:cxnSpLocks/>
          </p:cNvCxnSpPr>
          <p:nvPr userDrawn="1"/>
        </p:nvCxnSpPr>
        <p:spPr>
          <a:xfrm>
            <a:off x="6311627" y="-3411760"/>
            <a:ext cx="12961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81B95242-A5F4-AB45-92CD-EA8C164B69C5}"/>
              </a:ext>
            </a:extLst>
          </p:cNvPr>
          <p:cNvSpPr>
            <a:spLocks noGrp="1"/>
          </p:cNvSpPr>
          <p:nvPr>
            <p:ph type="body" sz="quarter" idx="18" hasCustomPrompt="1"/>
          </p:nvPr>
        </p:nvSpPr>
        <p:spPr>
          <a:xfrm>
            <a:off x="1177320" y="4630448"/>
            <a:ext cx="3851877" cy="1576388"/>
          </a:xfrm>
          <a:prstGeom prst="rect">
            <a:avLst/>
          </a:prstGeom>
        </p:spPr>
        <p:txBody>
          <a:bodyPr>
            <a:normAutofit/>
          </a:bodyPr>
          <a:lstStyle>
            <a:lvl1pPr marL="0" indent="0">
              <a:buNone/>
              <a:defRPr sz="1800">
                <a:solidFill>
                  <a:srgbClr val="11133C"/>
                </a:solidFill>
                <a:latin typeface="Inter" panose="020B0502030000000004" pitchFamily="34" charset="0"/>
                <a:ea typeface="Inter" panose="020B0502030000000004" pitchFamily="34" charset="0"/>
              </a:defRPr>
            </a:lvl1pPr>
            <a:lvl2pPr>
              <a:defRPr>
                <a:solidFill>
                  <a:srgbClr val="F9EAD4"/>
                </a:solidFill>
              </a:defRPr>
            </a:lvl2pPr>
            <a:lvl3pPr>
              <a:defRPr>
                <a:solidFill>
                  <a:srgbClr val="F9EAD4"/>
                </a:solidFill>
              </a:defRPr>
            </a:lvl3pPr>
            <a:lvl4pPr>
              <a:defRPr>
                <a:solidFill>
                  <a:srgbClr val="F9EAD4"/>
                </a:solidFill>
              </a:defRPr>
            </a:lvl4pPr>
            <a:lvl5pPr>
              <a:defRPr>
                <a:solidFill>
                  <a:srgbClr val="F9EAD4"/>
                </a:solidFill>
              </a:defRPr>
            </a:lvl5pPr>
          </a:lstStyle>
          <a:p>
            <a:pPr lvl="0"/>
            <a:r>
              <a:rPr lang="nb-NO">
                <a:latin typeface="Inter" panose="020B0502030000000004" pitchFamily="34" charset="0"/>
                <a:ea typeface="Inter" panose="020B0502030000000004" pitchFamily="34" charset="0"/>
              </a:rPr>
              <a:t>Fyll inn tekst </a:t>
            </a:r>
            <a:endParaRPr lang="nb-NO"/>
          </a:p>
        </p:txBody>
      </p:sp>
      <p:sp>
        <p:nvSpPr>
          <p:cNvPr id="11" name="Title 3">
            <a:extLst>
              <a:ext uri="{FF2B5EF4-FFF2-40B4-BE49-F238E27FC236}">
                <a16:creationId xmlns:a16="http://schemas.microsoft.com/office/drawing/2014/main" id="{3F62E93D-1167-3448-8705-CF2ADA18DA28}"/>
              </a:ext>
            </a:extLst>
          </p:cNvPr>
          <p:cNvSpPr>
            <a:spLocks noGrp="1"/>
          </p:cNvSpPr>
          <p:nvPr>
            <p:ph type="title" hasCustomPrompt="1"/>
          </p:nvPr>
        </p:nvSpPr>
        <p:spPr>
          <a:xfrm>
            <a:off x="1141215" y="4107305"/>
            <a:ext cx="3895480" cy="391618"/>
          </a:xfrm>
          <a:prstGeom prst="rect">
            <a:avLst/>
          </a:prstGeom>
        </p:spPr>
        <p:txBody>
          <a:bodyPr>
            <a:normAutofit/>
          </a:bodyPr>
          <a:lstStyle>
            <a:lvl1pPr>
              <a:defRPr sz="2400" b="1">
                <a:solidFill>
                  <a:srgbClr val="11133C"/>
                </a:solidFill>
                <a:latin typeface="Inter" panose="020B0502030000000004" pitchFamily="34" charset="0"/>
                <a:ea typeface="Inter" panose="020B0502030000000004" pitchFamily="34" charset="0"/>
              </a:defRPr>
            </a:lvl1pPr>
          </a:lstStyle>
          <a:p>
            <a:r>
              <a:rPr lang="en-GB" b="1"/>
              <a:t>OVERSKRIFT / </a:t>
            </a:r>
            <a:r>
              <a:rPr lang="en-GB" b="1" err="1"/>
              <a:t>overskrift</a:t>
            </a:r>
            <a:r>
              <a:rPr lang="en-GB" b="1"/>
              <a:t>    </a:t>
            </a:r>
            <a:endParaRPr lang="nb-NO"/>
          </a:p>
        </p:txBody>
      </p:sp>
    </p:spTree>
    <p:extLst>
      <p:ext uri="{BB962C8B-B14F-4D97-AF65-F5344CB8AC3E}">
        <p14:creationId xmlns:p14="http://schemas.microsoft.com/office/powerpoint/2010/main" val="35859032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ELDEKKENDE BILDET + OVERSKRIF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8335B2F0-4006-E840-87DB-4E69D177336A}"/>
              </a:ext>
            </a:extLst>
          </p:cNvPr>
          <p:cNvCxnSpPr>
            <a:cxnSpLocks/>
          </p:cNvCxnSpPr>
          <p:nvPr userDrawn="1"/>
        </p:nvCxnSpPr>
        <p:spPr>
          <a:xfrm>
            <a:off x="6311627" y="-3411760"/>
            <a:ext cx="12961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Picture Placeholder 7">
            <a:extLst>
              <a:ext uri="{FF2B5EF4-FFF2-40B4-BE49-F238E27FC236}">
                <a16:creationId xmlns:a16="http://schemas.microsoft.com/office/drawing/2014/main" id="{21793A7B-AE56-C74D-83CD-6C0067FBC033}"/>
              </a:ext>
            </a:extLst>
          </p:cNvPr>
          <p:cNvSpPr>
            <a:spLocks noGrp="1"/>
          </p:cNvSpPr>
          <p:nvPr>
            <p:ph type="pic" sz="quarter" idx="15" hasCustomPrompt="1"/>
          </p:nvPr>
        </p:nvSpPr>
        <p:spPr>
          <a:xfrm>
            <a:off x="0" y="0"/>
            <a:ext cx="12192000" cy="6858000"/>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
        <p:nvSpPr>
          <p:cNvPr id="8" name="Title 2">
            <a:extLst>
              <a:ext uri="{FF2B5EF4-FFF2-40B4-BE49-F238E27FC236}">
                <a16:creationId xmlns:a16="http://schemas.microsoft.com/office/drawing/2014/main" id="{17212F27-4068-104B-AE0D-84223B2107D0}"/>
              </a:ext>
            </a:extLst>
          </p:cNvPr>
          <p:cNvSpPr txBox="1">
            <a:spLocks/>
          </p:cNvSpPr>
          <p:nvPr userDrawn="1"/>
        </p:nvSpPr>
        <p:spPr>
          <a:xfrm>
            <a:off x="996041" y="5535385"/>
            <a:ext cx="10515601" cy="794203"/>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11133C"/>
                </a:solidFill>
                <a:latin typeface="Inter" panose="020B0502030000000004" pitchFamily="34" charset="0"/>
                <a:ea typeface="Inter" panose="020B0502030000000004" pitchFamily="34" charset="0"/>
                <a:cs typeface="+mj-cs"/>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4804405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APITTEL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ED9D276-C306-A446-89BF-28A231AF9A4C}"/>
              </a:ext>
            </a:extLst>
          </p:cNvPr>
          <p:cNvSpPr txBox="1">
            <a:spLocks/>
          </p:cNvSpPr>
          <p:nvPr userDrawn="1"/>
        </p:nvSpPr>
        <p:spPr>
          <a:xfrm>
            <a:off x="4446814" y="3140982"/>
            <a:ext cx="6019800" cy="2231117"/>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279618483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APITTEL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EFA061-444A-6F4E-B821-D2735C5FFA43}"/>
              </a:ext>
            </a:extLst>
          </p:cNvPr>
          <p:cNvPicPr>
            <a:picLocks noChangeAspect="1"/>
          </p:cNvPicPr>
          <p:nvPr userDrawn="1"/>
        </p:nvPicPr>
        <p:blipFill>
          <a:blip r:embed="rId2"/>
          <a:stretch>
            <a:fillRect/>
          </a:stretch>
        </p:blipFill>
        <p:spPr>
          <a:xfrm>
            <a:off x="654050" y="2862630"/>
            <a:ext cx="3346450" cy="3379420"/>
          </a:xfrm>
          <a:prstGeom prst="rect">
            <a:avLst/>
          </a:prstGeom>
        </p:spPr>
      </p:pic>
      <p:sp>
        <p:nvSpPr>
          <p:cNvPr id="3" name="Text Placeholder 2">
            <a:extLst>
              <a:ext uri="{FF2B5EF4-FFF2-40B4-BE49-F238E27FC236}">
                <a16:creationId xmlns:a16="http://schemas.microsoft.com/office/drawing/2014/main" id="{C5C42D5E-360B-8249-B44D-2B1AC47C7DC3}"/>
              </a:ext>
            </a:extLst>
          </p:cNvPr>
          <p:cNvSpPr>
            <a:spLocks noGrp="1"/>
          </p:cNvSpPr>
          <p:nvPr>
            <p:ph type="body" sz="quarter" idx="24" hasCustomPrompt="1"/>
          </p:nvPr>
        </p:nvSpPr>
        <p:spPr>
          <a:xfrm>
            <a:off x="4391516" y="3930903"/>
            <a:ext cx="4129088" cy="2322940"/>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7" name="Rectangle 6">
            <a:extLst>
              <a:ext uri="{FF2B5EF4-FFF2-40B4-BE49-F238E27FC236}">
                <a16:creationId xmlns:a16="http://schemas.microsoft.com/office/drawing/2014/main" id="{EF6AEFDA-2B59-0643-AE6D-0B914E38E98E}"/>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sp>
        <p:nvSpPr>
          <p:cNvPr id="11" name="Title 1">
            <a:extLst>
              <a:ext uri="{FF2B5EF4-FFF2-40B4-BE49-F238E27FC236}">
                <a16:creationId xmlns:a16="http://schemas.microsoft.com/office/drawing/2014/main" id="{DAED9F30-DEA0-C544-A545-466818D5F313}"/>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251174083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KAPITTEL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42D5E-360B-8249-B44D-2B1AC47C7DC3}"/>
              </a:ext>
            </a:extLst>
          </p:cNvPr>
          <p:cNvSpPr>
            <a:spLocks noGrp="1"/>
          </p:cNvSpPr>
          <p:nvPr>
            <p:ph type="body" sz="quarter" idx="24" hasCustomPrompt="1"/>
          </p:nvPr>
        </p:nvSpPr>
        <p:spPr>
          <a:xfrm>
            <a:off x="4391516" y="3930903"/>
            <a:ext cx="3789098" cy="2388254"/>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7" name="Rectangle 6">
            <a:extLst>
              <a:ext uri="{FF2B5EF4-FFF2-40B4-BE49-F238E27FC236}">
                <a16:creationId xmlns:a16="http://schemas.microsoft.com/office/drawing/2014/main" id="{EF6AEFDA-2B59-0643-AE6D-0B914E38E98E}"/>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6" name="Picture 5">
            <a:extLst>
              <a:ext uri="{FF2B5EF4-FFF2-40B4-BE49-F238E27FC236}">
                <a16:creationId xmlns:a16="http://schemas.microsoft.com/office/drawing/2014/main" id="{3F217E8B-895A-B440-805D-16EE636079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12200" y="4494250"/>
            <a:ext cx="2997200" cy="1836699"/>
          </a:xfrm>
          <a:prstGeom prst="rect">
            <a:avLst/>
          </a:prstGeom>
        </p:spPr>
      </p:pic>
      <p:sp>
        <p:nvSpPr>
          <p:cNvPr id="10" name="Title 1">
            <a:extLst>
              <a:ext uri="{FF2B5EF4-FFF2-40B4-BE49-F238E27FC236}">
                <a16:creationId xmlns:a16="http://schemas.microsoft.com/office/drawing/2014/main" id="{63A88E15-7B07-DF4E-9ECF-12A40C3A2261}"/>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31149904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KAPITTEL 4">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8201E9F-9DFD-5B44-9542-AE9A222D36F3}"/>
              </a:ext>
            </a:extLst>
          </p:cNvPr>
          <p:cNvSpPr>
            <a:spLocks noGrp="1"/>
          </p:cNvSpPr>
          <p:nvPr>
            <p:ph type="body" sz="quarter" idx="24" hasCustomPrompt="1"/>
          </p:nvPr>
        </p:nvSpPr>
        <p:spPr>
          <a:xfrm>
            <a:off x="4391516" y="3930902"/>
            <a:ext cx="4129088" cy="2584197"/>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6" name="Rectangle 5">
            <a:extLst>
              <a:ext uri="{FF2B5EF4-FFF2-40B4-BE49-F238E27FC236}">
                <a16:creationId xmlns:a16="http://schemas.microsoft.com/office/drawing/2014/main" id="{4BFAE81E-658F-984C-9EC9-9668C2873759}"/>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7" name="Picture 6">
            <a:extLst>
              <a:ext uri="{FF2B5EF4-FFF2-40B4-BE49-F238E27FC236}">
                <a16:creationId xmlns:a16="http://schemas.microsoft.com/office/drawing/2014/main" id="{B7FDCCAA-7EC4-A843-B934-EB569A355306}"/>
              </a:ext>
            </a:extLst>
          </p:cNvPr>
          <p:cNvPicPr>
            <a:picLocks noChangeAspect="1"/>
          </p:cNvPicPr>
          <p:nvPr userDrawn="1"/>
        </p:nvPicPr>
        <p:blipFill>
          <a:blip r:embed="rId2"/>
          <a:stretch>
            <a:fillRect/>
          </a:stretch>
        </p:blipFill>
        <p:spPr>
          <a:xfrm>
            <a:off x="-273050" y="4694986"/>
            <a:ext cx="3930650" cy="2213814"/>
          </a:xfrm>
          <a:prstGeom prst="rect">
            <a:avLst/>
          </a:prstGeom>
        </p:spPr>
      </p:pic>
      <p:sp>
        <p:nvSpPr>
          <p:cNvPr id="11" name="Title 1">
            <a:extLst>
              <a:ext uri="{FF2B5EF4-FFF2-40B4-BE49-F238E27FC236}">
                <a16:creationId xmlns:a16="http://schemas.microsoft.com/office/drawing/2014/main" id="{9A49E6DC-601C-874E-A12B-90D6082FF1EC}"/>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2207016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indre 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8170863"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8170069"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08000"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303020747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KAPITTEL 5">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5D3041C-82F0-8246-ACD3-F504690CA959}"/>
              </a:ext>
            </a:extLst>
          </p:cNvPr>
          <p:cNvSpPr>
            <a:spLocks noGrp="1"/>
          </p:cNvSpPr>
          <p:nvPr>
            <p:ph type="body" sz="quarter" idx="24" hasCustomPrompt="1"/>
          </p:nvPr>
        </p:nvSpPr>
        <p:spPr>
          <a:xfrm>
            <a:off x="4391516" y="3930902"/>
            <a:ext cx="4129088" cy="2584197"/>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7" name="Rectangle 6">
            <a:extLst>
              <a:ext uri="{FF2B5EF4-FFF2-40B4-BE49-F238E27FC236}">
                <a16:creationId xmlns:a16="http://schemas.microsoft.com/office/drawing/2014/main" id="{29E07163-EFBC-8A43-9553-02AE98674C94}"/>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8" name="Picture 7">
            <a:extLst>
              <a:ext uri="{FF2B5EF4-FFF2-40B4-BE49-F238E27FC236}">
                <a16:creationId xmlns:a16="http://schemas.microsoft.com/office/drawing/2014/main" id="{108886C1-2C12-6749-BFEB-858ED06B17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538" y="4254500"/>
            <a:ext cx="3030585" cy="2298700"/>
          </a:xfrm>
          <a:prstGeom prst="rect">
            <a:avLst/>
          </a:prstGeom>
        </p:spPr>
      </p:pic>
      <p:sp>
        <p:nvSpPr>
          <p:cNvPr id="9" name="Title 1">
            <a:extLst>
              <a:ext uri="{FF2B5EF4-FFF2-40B4-BE49-F238E27FC236}">
                <a16:creationId xmlns:a16="http://schemas.microsoft.com/office/drawing/2014/main" id="{FFDC188D-35CF-2B49-98E6-D6C319789370}"/>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3137076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APITTEL 6">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5D3041C-82F0-8246-ACD3-F504690CA959}"/>
              </a:ext>
            </a:extLst>
          </p:cNvPr>
          <p:cNvSpPr>
            <a:spLocks noGrp="1"/>
          </p:cNvSpPr>
          <p:nvPr>
            <p:ph type="body" sz="quarter" idx="24" hasCustomPrompt="1"/>
          </p:nvPr>
        </p:nvSpPr>
        <p:spPr>
          <a:xfrm>
            <a:off x="4391516" y="3930902"/>
            <a:ext cx="4129088" cy="2404583"/>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7" name="Rectangle 6">
            <a:extLst>
              <a:ext uri="{FF2B5EF4-FFF2-40B4-BE49-F238E27FC236}">
                <a16:creationId xmlns:a16="http://schemas.microsoft.com/office/drawing/2014/main" id="{29E07163-EFBC-8A43-9553-02AE98674C94}"/>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6" name="Picture 5">
            <a:extLst>
              <a:ext uri="{FF2B5EF4-FFF2-40B4-BE49-F238E27FC236}">
                <a16:creationId xmlns:a16="http://schemas.microsoft.com/office/drawing/2014/main" id="{6E09D870-D40E-FE49-BF50-7D0FCDD8C1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6800" y="685800"/>
            <a:ext cx="2075543" cy="2235200"/>
          </a:xfrm>
          <a:prstGeom prst="rect">
            <a:avLst/>
          </a:prstGeom>
        </p:spPr>
      </p:pic>
      <p:sp>
        <p:nvSpPr>
          <p:cNvPr id="9" name="Title 1">
            <a:extLst>
              <a:ext uri="{FF2B5EF4-FFF2-40B4-BE49-F238E27FC236}">
                <a16:creationId xmlns:a16="http://schemas.microsoft.com/office/drawing/2014/main" id="{FFCF229C-5E90-A240-9788-0B55C0748D6A}"/>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395370552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KAPITTEL 7">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5D3041C-82F0-8246-ACD3-F504690CA959}"/>
              </a:ext>
            </a:extLst>
          </p:cNvPr>
          <p:cNvSpPr>
            <a:spLocks noGrp="1"/>
          </p:cNvSpPr>
          <p:nvPr>
            <p:ph type="body" sz="quarter" idx="24" hasCustomPrompt="1"/>
          </p:nvPr>
        </p:nvSpPr>
        <p:spPr>
          <a:xfrm>
            <a:off x="4391516" y="3930903"/>
            <a:ext cx="4129088" cy="2486226"/>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7" name="Rectangle 6">
            <a:extLst>
              <a:ext uri="{FF2B5EF4-FFF2-40B4-BE49-F238E27FC236}">
                <a16:creationId xmlns:a16="http://schemas.microsoft.com/office/drawing/2014/main" id="{29E07163-EFBC-8A43-9553-02AE98674C94}"/>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8" name="Picture 7">
            <a:extLst>
              <a:ext uri="{FF2B5EF4-FFF2-40B4-BE49-F238E27FC236}">
                <a16:creationId xmlns:a16="http://schemas.microsoft.com/office/drawing/2014/main" id="{045B458F-3234-5D4B-A12D-BB377824B5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9450" y="4594258"/>
            <a:ext cx="1593850" cy="1679541"/>
          </a:xfrm>
          <a:prstGeom prst="rect">
            <a:avLst/>
          </a:prstGeom>
        </p:spPr>
      </p:pic>
      <p:sp>
        <p:nvSpPr>
          <p:cNvPr id="9" name="Title 1">
            <a:extLst>
              <a:ext uri="{FF2B5EF4-FFF2-40B4-BE49-F238E27FC236}">
                <a16:creationId xmlns:a16="http://schemas.microsoft.com/office/drawing/2014/main" id="{D757AC05-319F-5E43-9289-48D3FA5033E3}"/>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394255608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KAPITTEL 8">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0D635AD7-1A2A-CA43-BF33-A7FA447EB8E3}"/>
              </a:ext>
            </a:extLst>
          </p:cNvPr>
          <p:cNvSpPr>
            <a:spLocks noGrp="1"/>
          </p:cNvSpPr>
          <p:nvPr>
            <p:ph type="body" sz="quarter" idx="24" hasCustomPrompt="1"/>
          </p:nvPr>
        </p:nvSpPr>
        <p:spPr>
          <a:xfrm>
            <a:off x="4391516" y="3930902"/>
            <a:ext cx="3805427" cy="2535211"/>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7" name="Rectangle 6">
            <a:extLst>
              <a:ext uri="{FF2B5EF4-FFF2-40B4-BE49-F238E27FC236}">
                <a16:creationId xmlns:a16="http://schemas.microsoft.com/office/drawing/2014/main" id="{0E06DD6F-9896-F44A-80E6-2070AEF01DCC}"/>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8" name="Picture 7">
            <a:extLst>
              <a:ext uri="{FF2B5EF4-FFF2-40B4-BE49-F238E27FC236}">
                <a16:creationId xmlns:a16="http://schemas.microsoft.com/office/drawing/2014/main" id="{51F33615-9A7F-9444-B5FB-9157B6C76B7E}"/>
              </a:ext>
            </a:extLst>
          </p:cNvPr>
          <p:cNvPicPr>
            <a:picLocks noChangeAspect="1"/>
          </p:cNvPicPr>
          <p:nvPr userDrawn="1"/>
        </p:nvPicPr>
        <p:blipFill>
          <a:blip r:embed="rId2"/>
          <a:stretch>
            <a:fillRect/>
          </a:stretch>
        </p:blipFill>
        <p:spPr>
          <a:xfrm>
            <a:off x="8661400" y="3606800"/>
            <a:ext cx="3028950" cy="2842332"/>
          </a:xfrm>
          <a:prstGeom prst="rect">
            <a:avLst/>
          </a:prstGeom>
        </p:spPr>
      </p:pic>
      <p:sp>
        <p:nvSpPr>
          <p:cNvPr id="11" name="Title 1">
            <a:extLst>
              <a:ext uri="{FF2B5EF4-FFF2-40B4-BE49-F238E27FC236}">
                <a16:creationId xmlns:a16="http://schemas.microsoft.com/office/drawing/2014/main" id="{0E1F08A9-D3AE-F342-BB72-14275AD913AB}"/>
              </a:ext>
            </a:extLst>
          </p:cNvPr>
          <p:cNvSpPr txBox="1">
            <a:spLocks/>
          </p:cNvSpPr>
          <p:nvPr userDrawn="1"/>
        </p:nvSpPr>
        <p:spPr>
          <a:xfrm>
            <a:off x="4446814" y="3140983"/>
            <a:ext cx="5203372"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303578302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KAPITTEL 9">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0D635AD7-1A2A-CA43-BF33-A7FA447EB8E3}"/>
              </a:ext>
            </a:extLst>
          </p:cNvPr>
          <p:cNvSpPr>
            <a:spLocks noGrp="1"/>
          </p:cNvSpPr>
          <p:nvPr>
            <p:ph type="body" sz="quarter" idx="24" hasCustomPrompt="1"/>
          </p:nvPr>
        </p:nvSpPr>
        <p:spPr>
          <a:xfrm>
            <a:off x="4391516" y="3930903"/>
            <a:ext cx="4129088" cy="2665840"/>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7" name="Rectangle 6">
            <a:extLst>
              <a:ext uri="{FF2B5EF4-FFF2-40B4-BE49-F238E27FC236}">
                <a16:creationId xmlns:a16="http://schemas.microsoft.com/office/drawing/2014/main" id="{0E06DD6F-9896-F44A-80E6-2070AEF01DCC}"/>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2" name="Picture 1">
            <a:extLst>
              <a:ext uri="{FF2B5EF4-FFF2-40B4-BE49-F238E27FC236}">
                <a16:creationId xmlns:a16="http://schemas.microsoft.com/office/drawing/2014/main" id="{DDDDA82E-3D2D-584C-8928-6B0E54DAA0A6}"/>
              </a:ext>
            </a:extLst>
          </p:cNvPr>
          <p:cNvPicPr>
            <a:picLocks noChangeAspect="1"/>
          </p:cNvPicPr>
          <p:nvPr userDrawn="1"/>
        </p:nvPicPr>
        <p:blipFill>
          <a:blip r:embed="rId2"/>
          <a:stretch>
            <a:fillRect/>
          </a:stretch>
        </p:blipFill>
        <p:spPr>
          <a:xfrm>
            <a:off x="393700" y="4406900"/>
            <a:ext cx="1672546" cy="2165350"/>
          </a:xfrm>
          <a:prstGeom prst="rect">
            <a:avLst/>
          </a:prstGeom>
        </p:spPr>
      </p:pic>
      <p:sp>
        <p:nvSpPr>
          <p:cNvPr id="9" name="Title 1">
            <a:extLst>
              <a:ext uri="{FF2B5EF4-FFF2-40B4-BE49-F238E27FC236}">
                <a16:creationId xmlns:a16="http://schemas.microsoft.com/office/drawing/2014/main" id="{B19A232A-60E4-7144-B28C-FADAE7B85649}"/>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331983807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KAPITTEL 10">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AD81179-0636-1B49-BB0F-395A9088D7F4}"/>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sp>
        <p:nvSpPr>
          <p:cNvPr id="6" name="Text Placeholder 2">
            <a:extLst>
              <a:ext uri="{FF2B5EF4-FFF2-40B4-BE49-F238E27FC236}">
                <a16:creationId xmlns:a16="http://schemas.microsoft.com/office/drawing/2014/main" id="{8DD378CD-6B90-9A46-89D8-F0DC5E39F125}"/>
              </a:ext>
            </a:extLst>
          </p:cNvPr>
          <p:cNvSpPr>
            <a:spLocks noGrp="1"/>
          </p:cNvSpPr>
          <p:nvPr>
            <p:ph type="body" sz="quarter" idx="24" hasCustomPrompt="1"/>
          </p:nvPr>
        </p:nvSpPr>
        <p:spPr>
          <a:xfrm>
            <a:off x="4391516" y="3930902"/>
            <a:ext cx="4129088" cy="2633183"/>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pic>
        <p:nvPicPr>
          <p:cNvPr id="7" name="Picture 6">
            <a:extLst>
              <a:ext uri="{FF2B5EF4-FFF2-40B4-BE49-F238E27FC236}">
                <a16:creationId xmlns:a16="http://schemas.microsoft.com/office/drawing/2014/main" id="{A0E04D2B-1DB1-8049-9182-8F4B462D88C9}"/>
              </a:ext>
            </a:extLst>
          </p:cNvPr>
          <p:cNvPicPr>
            <a:picLocks noChangeAspect="1"/>
          </p:cNvPicPr>
          <p:nvPr userDrawn="1"/>
        </p:nvPicPr>
        <p:blipFill>
          <a:blip r:embed="rId2"/>
          <a:stretch>
            <a:fillRect/>
          </a:stretch>
        </p:blipFill>
        <p:spPr>
          <a:xfrm>
            <a:off x="311150" y="4044232"/>
            <a:ext cx="1720850" cy="2439118"/>
          </a:xfrm>
          <a:prstGeom prst="rect">
            <a:avLst/>
          </a:prstGeom>
        </p:spPr>
      </p:pic>
      <p:sp>
        <p:nvSpPr>
          <p:cNvPr id="10" name="Title 1">
            <a:extLst>
              <a:ext uri="{FF2B5EF4-FFF2-40B4-BE49-F238E27FC236}">
                <a16:creationId xmlns:a16="http://schemas.microsoft.com/office/drawing/2014/main" id="{63C11FDF-39DD-E34C-8C0C-BF7A33504C48}"/>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408062025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KAPITTEL 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AD81179-0636-1B49-BB0F-395A9088D7F4}"/>
              </a:ext>
            </a:extLst>
          </p:cNvPr>
          <p:cNvSpPr/>
          <p:nvPr userDrawn="1"/>
        </p:nvSpPr>
        <p:spPr>
          <a:xfrm>
            <a:off x="11707587" y="1175657"/>
            <a:ext cx="484414"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sp>
        <p:nvSpPr>
          <p:cNvPr id="6" name="Text Placeholder 2">
            <a:extLst>
              <a:ext uri="{FF2B5EF4-FFF2-40B4-BE49-F238E27FC236}">
                <a16:creationId xmlns:a16="http://schemas.microsoft.com/office/drawing/2014/main" id="{8DD378CD-6B90-9A46-89D8-F0DC5E39F125}"/>
              </a:ext>
            </a:extLst>
          </p:cNvPr>
          <p:cNvSpPr>
            <a:spLocks noGrp="1"/>
          </p:cNvSpPr>
          <p:nvPr>
            <p:ph type="body" sz="quarter" idx="24" hasCustomPrompt="1"/>
          </p:nvPr>
        </p:nvSpPr>
        <p:spPr>
          <a:xfrm>
            <a:off x="4391516" y="3930902"/>
            <a:ext cx="4129088" cy="2420911"/>
          </a:xfrm>
          <a:prstGeom prst="rect">
            <a:avLst/>
          </a:prstGeom>
        </p:spPr>
        <p:txBody>
          <a:bodyPr>
            <a:normAutofit/>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pic>
        <p:nvPicPr>
          <p:cNvPr id="2" name="Picture 1">
            <a:extLst>
              <a:ext uri="{FF2B5EF4-FFF2-40B4-BE49-F238E27FC236}">
                <a16:creationId xmlns:a16="http://schemas.microsoft.com/office/drawing/2014/main" id="{0DD20732-A66D-674F-8D77-85D47E1E68C2}"/>
              </a:ext>
            </a:extLst>
          </p:cNvPr>
          <p:cNvPicPr>
            <a:picLocks noChangeAspect="1"/>
          </p:cNvPicPr>
          <p:nvPr userDrawn="1"/>
        </p:nvPicPr>
        <p:blipFill>
          <a:blip r:embed="rId2"/>
          <a:stretch>
            <a:fillRect/>
          </a:stretch>
        </p:blipFill>
        <p:spPr>
          <a:xfrm>
            <a:off x="749300" y="4387850"/>
            <a:ext cx="1397000" cy="1993900"/>
          </a:xfrm>
          <a:prstGeom prst="rect">
            <a:avLst/>
          </a:prstGeom>
        </p:spPr>
      </p:pic>
      <p:sp>
        <p:nvSpPr>
          <p:cNvPr id="8" name="Title 1">
            <a:extLst>
              <a:ext uri="{FF2B5EF4-FFF2-40B4-BE49-F238E27FC236}">
                <a16:creationId xmlns:a16="http://schemas.microsoft.com/office/drawing/2014/main" id="{A7D607D9-9813-544C-B05B-8497CBDAB453}"/>
              </a:ext>
            </a:extLst>
          </p:cNvPr>
          <p:cNvSpPr txBox="1">
            <a:spLocks/>
          </p:cNvSpPr>
          <p:nvPr userDrawn="1"/>
        </p:nvSpPr>
        <p:spPr>
          <a:xfrm>
            <a:off x="4446814" y="3140983"/>
            <a:ext cx="6019800"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92229318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KAPITTEL 1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C64B16-2D5D-6F43-8977-CE8918D673A5}"/>
              </a:ext>
            </a:extLst>
          </p:cNvPr>
          <p:cNvSpPr/>
          <p:nvPr userDrawn="1"/>
        </p:nvSpPr>
        <p:spPr>
          <a:xfrm>
            <a:off x="11707586" y="1175657"/>
            <a:ext cx="751113"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7" name="Picture 6">
            <a:extLst>
              <a:ext uri="{FF2B5EF4-FFF2-40B4-BE49-F238E27FC236}">
                <a16:creationId xmlns:a16="http://schemas.microsoft.com/office/drawing/2014/main" id="{977B1362-9096-C842-9A22-5C128B8073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5200" y="507138"/>
            <a:ext cx="2768600" cy="3296511"/>
          </a:xfrm>
          <a:prstGeom prst="rect">
            <a:avLst/>
          </a:prstGeom>
        </p:spPr>
      </p:pic>
      <p:sp>
        <p:nvSpPr>
          <p:cNvPr id="9" name="Title 1">
            <a:extLst>
              <a:ext uri="{FF2B5EF4-FFF2-40B4-BE49-F238E27FC236}">
                <a16:creationId xmlns:a16="http://schemas.microsoft.com/office/drawing/2014/main" id="{BDB2F77B-54B7-5A4D-8E5E-E50428A43291}"/>
              </a:ext>
            </a:extLst>
          </p:cNvPr>
          <p:cNvSpPr txBox="1">
            <a:spLocks/>
          </p:cNvSpPr>
          <p:nvPr userDrawn="1"/>
        </p:nvSpPr>
        <p:spPr>
          <a:xfrm>
            <a:off x="903513" y="5443312"/>
            <a:ext cx="7064829" cy="777874"/>
          </a:xfrm>
          <a:prstGeom prst="rect">
            <a:avLst/>
          </a:prstGeom>
        </p:spPr>
        <p:txBody>
          <a:bodyPr>
            <a:normAutofit/>
          </a:bodyPr>
          <a:lstStyle>
            <a:lvl1pPr algn="l" defTabSz="914400" rtl="0" eaLnBrk="1" latinLnBrk="0" hangingPunct="1">
              <a:lnSpc>
                <a:spcPct val="90000"/>
              </a:lnSpc>
              <a:spcBef>
                <a:spcPct val="0"/>
              </a:spcBef>
              <a:buNone/>
              <a:defRPr sz="4400" b="1" kern="1200">
                <a:solidFill>
                  <a:srgbClr val="F9EAD4"/>
                </a:solidFill>
                <a:latin typeface="Inter" panose="020B0502030000000004" pitchFamily="34" charset="0"/>
                <a:ea typeface="Inter" panose="020B0502030000000004" pitchFamily="34" charset="0"/>
                <a:cs typeface="+mj-cs"/>
              </a:defRPr>
            </a:lvl1pPr>
          </a:lstStyle>
          <a:p>
            <a:r>
              <a:rPr lang="en-GB">
                <a:solidFill>
                  <a:srgbClr val="11133C"/>
                </a:solidFill>
              </a:rPr>
              <a:t>KAPITTEL</a:t>
            </a:r>
            <a:endParaRPr lang="nb-NO">
              <a:solidFill>
                <a:srgbClr val="11133C"/>
              </a:solidFill>
            </a:endParaRPr>
          </a:p>
        </p:txBody>
      </p:sp>
    </p:spTree>
    <p:extLst>
      <p:ext uri="{BB962C8B-B14F-4D97-AF65-F5344CB8AC3E}">
        <p14:creationId xmlns:p14="http://schemas.microsoft.com/office/powerpoint/2010/main" val="22742616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400126819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2270080"/>
            <a:ext cx="3513138" cy="1572546"/>
          </a:xfrm>
        </p:spPr>
        <p:txBody>
          <a:bodyPr>
            <a:noAutofit/>
          </a:bodyPr>
          <a:lstStyle>
            <a:lvl1pPr>
              <a:defRPr/>
            </a:lvl1p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a:xfrm>
            <a:off x="4340224" y="633413"/>
            <a:ext cx="7343775" cy="5480583"/>
          </a:xfrm>
        </p:spPr>
        <p:txBody>
          <a:bodyPr anchor="ctr" anchorCtr="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3867919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2554505"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7" y="4363891"/>
            <a:ext cx="2555082"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1" name="Plassholder for media 10">
            <a:extLst>
              <a:ext uri="{FF2B5EF4-FFF2-40B4-BE49-F238E27FC236}">
                <a16:creationId xmlns:a16="http://schemas.microsoft.com/office/drawing/2014/main" id="{1738FBB7-0743-D037-4309-B255C61E5514}"/>
              </a:ext>
            </a:extLst>
          </p:cNvPr>
          <p:cNvSpPr>
            <a:spLocks noGrp="1" noChangeAspect="1"/>
          </p:cNvSpPr>
          <p:nvPr>
            <p:ph type="media" sz="quarter" idx="15"/>
          </p:nvPr>
        </p:nvSpPr>
        <p:spPr>
          <a:xfrm>
            <a:off x="3381374" y="965199"/>
            <a:ext cx="8302626" cy="4670227"/>
          </a:xfrm>
        </p:spPr>
        <p:txBody>
          <a:bodyPr/>
          <a:lstStyle>
            <a:lvl1pPr marL="0" indent="0" algn="ctr">
              <a:buNone/>
              <a:defRPr sz="1280">
                <a:solidFill>
                  <a:schemeClr val="tx1">
                    <a:lumMod val="65000"/>
                    <a:lumOff val="35000"/>
                  </a:schemeClr>
                </a:solidFill>
              </a:defRPr>
            </a:lvl1pPr>
          </a:lstStyle>
          <a:p>
            <a:r>
              <a:rPr lang="nb-NO"/>
              <a:t>Klikk ikonet for å legge til media</a:t>
            </a:r>
          </a:p>
        </p:txBody>
      </p:sp>
    </p:spTree>
    <p:extLst>
      <p:ext uri="{BB962C8B-B14F-4D97-AF65-F5344CB8AC3E}">
        <p14:creationId xmlns:p14="http://schemas.microsoft.com/office/powerpoint/2010/main" val="10262318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Store punkt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lvl1pPr marL="434975" indent="-434975">
              <a:spcBef>
                <a:spcPts val="3600"/>
              </a:spcBef>
              <a:buFont typeface="Avenir Next LT Pro" panose="020B0504020202020204" pitchFamily="34" charset="0"/>
              <a:buChar char="•"/>
              <a:defRPr sz="3000"/>
            </a:lvl1pPr>
            <a:lvl2pPr marL="965200" indent="-434975">
              <a:defRPr sz="3000"/>
            </a:lvl2pPr>
            <a:lvl3pPr>
              <a:defRPr sz="2400"/>
            </a:lvl3pPr>
            <a:lvl4pPr>
              <a:defRPr sz="3000"/>
            </a:lvl4pPr>
            <a:lvl5pPr>
              <a:defRPr sz="2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1890273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0F6A5C6-E1C4-952D-DABF-1BB5BF893E82}"/>
              </a:ext>
            </a:extLst>
          </p:cNvPr>
          <p:cNvSpPr>
            <a:spLocks noGrp="1"/>
          </p:cNvSpPr>
          <p:nvPr>
            <p:ph type="title"/>
          </p:nvPr>
        </p:nvSpPr>
        <p:spPr/>
        <p:txBody>
          <a:bodyPr/>
          <a:lstStyle/>
          <a:p>
            <a:r>
              <a:rPr lang="nb-NO"/>
              <a:t>Klikk for å redigere tittelstil</a:t>
            </a:r>
          </a:p>
        </p:txBody>
      </p:sp>
      <p:sp>
        <p:nvSpPr>
          <p:cNvPr id="5" name="Plassholder for dato 4">
            <a:extLst>
              <a:ext uri="{FF2B5EF4-FFF2-40B4-BE49-F238E27FC236}">
                <a16:creationId xmlns:a16="http://schemas.microsoft.com/office/drawing/2014/main" id="{AF9189F2-90EA-8E91-C548-D83149ABBCEB}"/>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6" name="Plassholder for bunntekst 5">
            <a:extLst>
              <a:ext uri="{FF2B5EF4-FFF2-40B4-BE49-F238E27FC236}">
                <a16:creationId xmlns:a16="http://schemas.microsoft.com/office/drawing/2014/main" id="{260C1620-A883-B651-8150-B415FC34F17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DC0A9E3-377C-16F0-9402-9273CFB90EE4}"/>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innhold 2">
            <a:extLst>
              <a:ext uri="{FF2B5EF4-FFF2-40B4-BE49-F238E27FC236}">
                <a16:creationId xmlns:a16="http://schemas.microsoft.com/office/drawing/2014/main" id="{E957C6DE-F39A-9B71-CEB0-43167096BD53}"/>
              </a:ext>
            </a:extLst>
          </p:cNvPr>
          <p:cNvSpPr>
            <a:spLocks noGrp="1"/>
          </p:cNvSpPr>
          <p:nvPr>
            <p:ph idx="1"/>
          </p:nvPr>
        </p:nvSpPr>
        <p:spPr>
          <a:xfrm>
            <a:off x="508000"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22E42883-727C-D486-E333-4D1301749134}"/>
              </a:ext>
            </a:extLst>
          </p:cNvPr>
          <p:cNvSpPr>
            <a:spLocks noGrp="1"/>
          </p:cNvSpPr>
          <p:nvPr>
            <p:ph idx="13"/>
          </p:nvPr>
        </p:nvSpPr>
        <p:spPr>
          <a:xfrm>
            <a:off x="6256339"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55524737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23DA3595-0D76-FC7F-CE98-A2771164E21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4" name="Plassholder for bunntekst 3">
            <a:extLst>
              <a:ext uri="{FF2B5EF4-FFF2-40B4-BE49-F238E27FC236}">
                <a16:creationId xmlns:a16="http://schemas.microsoft.com/office/drawing/2014/main" id="{A8C16737-31A4-6AA3-36AE-0BE2577D127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C6A46AD8-B713-9AE7-6379-37F6049140CD}"/>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2839386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8048173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o bilder med bilde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6584"/>
            <a:ext cx="3513138" cy="1731243"/>
          </a:xfrm>
        </p:spPr>
        <p:txBody>
          <a:bodyPr/>
          <a:lstStyle>
            <a:lvl1pPr>
              <a:defRPr/>
            </a:lvl1p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4340225" y="973137"/>
            <a:ext cx="3511550" cy="2326745"/>
          </a:xfrm>
        </p:spPr>
        <p:txBody>
          <a:bodyPr/>
          <a:lstStyle>
            <a:lvl1pPr marL="0" indent="0" algn="ctr">
              <a:spcBef>
                <a:spcPts val="0"/>
              </a:spcBef>
              <a:buNone/>
              <a:defRPr sz="1230">
                <a:solidFill>
                  <a:schemeClr val="tx1">
                    <a:lumMod val="65000"/>
                    <a:lumOff val="35000"/>
                  </a:schemeClr>
                </a:solidFill>
              </a:defRPr>
            </a:lvl1pPr>
          </a:lstStyle>
          <a:p>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4340225"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bilde 9">
            <a:extLst>
              <a:ext uri="{FF2B5EF4-FFF2-40B4-BE49-F238E27FC236}">
                <a16:creationId xmlns:a16="http://schemas.microsoft.com/office/drawing/2014/main" id="{C1DF3A02-7D4E-E070-E8EB-0075CB3F8EB1}"/>
              </a:ext>
            </a:extLst>
          </p:cNvPr>
          <p:cNvSpPr>
            <a:spLocks noGrp="1"/>
          </p:cNvSpPr>
          <p:nvPr>
            <p:ph type="pic" sz="quarter" idx="15" hasCustomPrompt="1"/>
          </p:nvPr>
        </p:nvSpPr>
        <p:spPr>
          <a:xfrm>
            <a:off x="8172450" y="973137"/>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a:p>
            <a:endParaRPr lang="nb-NO"/>
          </a:p>
        </p:txBody>
      </p:sp>
      <p:sp>
        <p:nvSpPr>
          <p:cNvPr id="14" name="Plassholder for tekst 11">
            <a:extLst>
              <a:ext uri="{FF2B5EF4-FFF2-40B4-BE49-F238E27FC236}">
                <a16:creationId xmlns:a16="http://schemas.microsoft.com/office/drawing/2014/main" id="{675AED5A-19A5-C720-282C-E6944FFD3EFA}"/>
              </a:ext>
            </a:extLst>
          </p:cNvPr>
          <p:cNvSpPr>
            <a:spLocks noGrp="1"/>
          </p:cNvSpPr>
          <p:nvPr>
            <p:ph type="body" sz="quarter" idx="16"/>
          </p:nvPr>
        </p:nvSpPr>
        <p:spPr>
          <a:xfrm>
            <a:off x="8172450"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450804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8000"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9">
            <a:extLst>
              <a:ext uri="{FF2B5EF4-FFF2-40B4-BE49-F238E27FC236}">
                <a16:creationId xmlns:a16="http://schemas.microsoft.com/office/drawing/2014/main" id="{178FC9FC-B6C5-844F-939E-C34C88C8FB6C}"/>
              </a:ext>
            </a:extLst>
          </p:cNvPr>
          <p:cNvSpPr>
            <a:spLocks noGrp="1"/>
          </p:cNvSpPr>
          <p:nvPr>
            <p:ph type="pic" sz="quarter" idx="15" hasCustomPrompt="1"/>
          </p:nvPr>
        </p:nvSpPr>
        <p:spPr>
          <a:xfrm>
            <a:off x="4340225"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1">
            <a:extLst>
              <a:ext uri="{FF2B5EF4-FFF2-40B4-BE49-F238E27FC236}">
                <a16:creationId xmlns:a16="http://schemas.microsoft.com/office/drawing/2014/main" id="{F795AA08-D323-D3BD-8F35-B592F8564267}"/>
              </a:ext>
            </a:extLst>
          </p:cNvPr>
          <p:cNvSpPr>
            <a:spLocks noGrp="1"/>
          </p:cNvSpPr>
          <p:nvPr>
            <p:ph type="body" sz="quarter" idx="16"/>
          </p:nvPr>
        </p:nvSpPr>
        <p:spPr>
          <a:xfrm>
            <a:off x="4339432"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bilde 9">
            <a:extLst>
              <a:ext uri="{FF2B5EF4-FFF2-40B4-BE49-F238E27FC236}">
                <a16:creationId xmlns:a16="http://schemas.microsoft.com/office/drawing/2014/main" id="{E5CA577E-B187-3AB4-4EE2-5F5A11CB7556}"/>
              </a:ext>
            </a:extLst>
          </p:cNvPr>
          <p:cNvSpPr>
            <a:spLocks noGrp="1"/>
          </p:cNvSpPr>
          <p:nvPr>
            <p:ph type="pic" sz="quarter" idx="17" hasCustomPrompt="1"/>
          </p:nvPr>
        </p:nvSpPr>
        <p:spPr>
          <a:xfrm>
            <a:off x="8170863"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6" name="Plassholder for tekst 11">
            <a:extLst>
              <a:ext uri="{FF2B5EF4-FFF2-40B4-BE49-F238E27FC236}">
                <a16:creationId xmlns:a16="http://schemas.microsoft.com/office/drawing/2014/main" id="{DFD2A434-BC93-65E7-DDCE-6A46FB4FA0BD}"/>
              </a:ext>
            </a:extLst>
          </p:cNvPr>
          <p:cNvSpPr>
            <a:spLocks noGrp="1"/>
          </p:cNvSpPr>
          <p:nvPr>
            <p:ph type="body" sz="quarter" idx="18"/>
          </p:nvPr>
        </p:nvSpPr>
        <p:spPr>
          <a:xfrm>
            <a:off x="8170863"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8079602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i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720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bilde 9">
            <a:extLst>
              <a:ext uri="{FF2B5EF4-FFF2-40B4-BE49-F238E27FC236}">
                <a16:creationId xmlns:a16="http://schemas.microsoft.com/office/drawing/2014/main" id="{38168AA3-E5FC-A7FA-014A-A5985C6AFAF0}"/>
              </a:ext>
            </a:extLst>
          </p:cNvPr>
          <p:cNvSpPr>
            <a:spLocks noGrp="1"/>
          </p:cNvSpPr>
          <p:nvPr>
            <p:ph type="pic" sz="quarter" idx="15" hasCustomPrompt="1"/>
          </p:nvPr>
        </p:nvSpPr>
        <p:spPr>
          <a:xfrm>
            <a:off x="3381375"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3" name="Plassholder for tekst 11">
            <a:extLst>
              <a:ext uri="{FF2B5EF4-FFF2-40B4-BE49-F238E27FC236}">
                <a16:creationId xmlns:a16="http://schemas.microsoft.com/office/drawing/2014/main" id="{D9400DBA-EFA7-073E-1E7D-8AA730308537}"/>
              </a:ext>
            </a:extLst>
          </p:cNvPr>
          <p:cNvSpPr>
            <a:spLocks noGrp="1"/>
          </p:cNvSpPr>
          <p:nvPr>
            <p:ph type="body" sz="quarter" idx="16"/>
          </p:nvPr>
        </p:nvSpPr>
        <p:spPr>
          <a:xfrm>
            <a:off x="3381375"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bilde 9">
            <a:extLst>
              <a:ext uri="{FF2B5EF4-FFF2-40B4-BE49-F238E27FC236}">
                <a16:creationId xmlns:a16="http://schemas.microsoft.com/office/drawing/2014/main" id="{502E25AB-3C2F-9B65-2BDC-0B4AF5AAC703}"/>
              </a:ext>
            </a:extLst>
          </p:cNvPr>
          <p:cNvSpPr>
            <a:spLocks noGrp="1"/>
          </p:cNvSpPr>
          <p:nvPr>
            <p:ph type="pic" sz="quarter" idx="17" hasCustomPrompt="1"/>
          </p:nvPr>
        </p:nvSpPr>
        <p:spPr>
          <a:xfrm>
            <a:off x="625395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7" name="Plassholder for tekst 11">
            <a:extLst>
              <a:ext uri="{FF2B5EF4-FFF2-40B4-BE49-F238E27FC236}">
                <a16:creationId xmlns:a16="http://schemas.microsoft.com/office/drawing/2014/main" id="{E40226CB-A871-0683-4705-905DB53A2E39}"/>
              </a:ext>
            </a:extLst>
          </p:cNvPr>
          <p:cNvSpPr>
            <a:spLocks noGrp="1"/>
          </p:cNvSpPr>
          <p:nvPr>
            <p:ph type="body" sz="quarter" idx="18"/>
          </p:nvPr>
        </p:nvSpPr>
        <p:spPr>
          <a:xfrm>
            <a:off x="625395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8" name="Plassholder for bilde 9">
            <a:extLst>
              <a:ext uri="{FF2B5EF4-FFF2-40B4-BE49-F238E27FC236}">
                <a16:creationId xmlns:a16="http://schemas.microsoft.com/office/drawing/2014/main" id="{2DB17A83-A19E-8C81-FFF5-AA816B3ACCF0}"/>
              </a:ext>
            </a:extLst>
          </p:cNvPr>
          <p:cNvSpPr>
            <a:spLocks noGrp="1"/>
          </p:cNvSpPr>
          <p:nvPr>
            <p:ph type="pic" sz="quarter" idx="19" hasCustomPrompt="1"/>
          </p:nvPr>
        </p:nvSpPr>
        <p:spPr>
          <a:xfrm>
            <a:off x="9128919"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9" name="Plassholder for tekst 11">
            <a:extLst>
              <a:ext uri="{FF2B5EF4-FFF2-40B4-BE49-F238E27FC236}">
                <a16:creationId xmlns:a16="http://schemas.microsoft.com/office/drawing/2014/main" id="{4C1FF866-20B4-8662-65FF-DF45611372C6}"/>
              </a:ext>
            </a:extLst>
          </p:cNvPr>
          <p:cNvSpPr>
            <a:spLocks noGrp="1"/>
          </p:cNvSpPr>
          <p:nvPr>
            <p:ph type="body" sz="quarter" idx="20"/>
          </p:nvPr>
        </p:nvSpPr>
        <p:spPr>
          <a:xfrm>
            <a:off x="9128919"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0632152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5A0B7BFA-E24C-73A4-7488-E6AF2D0E4B51}"/>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367080601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bg>
      <p:bgPr>
        <a:solidFill>
          <a:schemeClr val="tx1"/>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spcBef>
                <a:spcPts val="0"/>
              </a:spcBef>
              <a:buNone/>
              <a:defRPr sz="1230">
                <a:solidFill>
                  <a:schemeClr val="bg1">
                    <a:lumMod val="85000"/>
                  </a:schemeClr>
                </a:solidFill>
              </a:defRPr>
            </a:lvl1pPr>
          </a:lstStyle>
          <a:p>
            <a:pPr marL="0" marR="0" lvl="0" indent="0" algn="ctr" defTabSz="914400" rtl="0" eaLnBrk="1" fontAlgn="ctr" latinLnBrk="0" hangingPunct="1">
              <a:lnSpc>
                <a:spcPct val="100000"/>
              </a:lnSpc>
              <a:spcBef>
                <a:spcPts val="0"/>
              </a:spcBef>
              <a:spcAft>
                <a:spcPts val="0"/>
              </a:spcAft>
              <a:buClr>
                <a:schemeClr val="tx2"/>
              </a:buClr>
              <a:buSzTx/>
              <a:buFont typeface="Avenir Next LT Pro" panose="020B0504020202020204" pitchFamily="34" charset="0"/>
              <a:buNone/>
              <a:tabLst/>
              <a:defRPr/>
            </a:pPr>
            <a:r>
              <a:rPr lang="nb-NO" err="1"/>
              <a:t>Drainn</a:t>
            </a:r>
            <a:r>
              <a:rPr lang="nb-NO"/>
              <a:t>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br>
              <a:rPr lang="nb-NO"/>
            </a:br>
            <a:r>
              <a:rPr lang="nb-NO"/>
              <a:t>For </a:t>
            </a:r>
            <a:r>
              <a:rPr lang="nb-NO" err="1"/>
              <a:t>bedre</a:t>
            </a:r>
            <a:r>
              <a:rPr lang="nb-NO"/>
              <a:t> </a:t>
            </a:r>
            <a:r>
              <a:rPr lang="nb-NO" err="1"/>
              <a:t>lesbarhet</a:t>
            </a:r>
            <a:r>
              <a:rPr lang="nb-NO"/>
              <a:t>, </a:t>
            </a:r>
            <a:r>
              <a:rPr lang="nb-NO" err="1"/>
              <a:t>gjør</a:t>
            </a:r>
            <a:r>
              <a:rPr lang="nb-NO"/>
              <a:t> </a:t>
            </a:r>
            <a:r>
              <a:rPr lang="nb-NO" err="1"/>
              <a:t>bildet</a:t>
            </a:r>
            <a:r>
              <a:rPr lang="nb-NO"/>
              <a:t> </a:t>
            </a:r>
            <a:r>
              <a:rPr lang="nb-NO" err="1"/>
              <a:t>mørkere</a:t>
            </a:r>
            <a:r>
              <a:rPr lang="nb-NO"/>
              <a:t> </a:t>
            </a:r>
            <a:r>
              <a:rPr lang="nb-NO" err="1"/>
              <a:t>på</a:t>
            </a:r>
            <a:r>
              <a:rPr lang="nb-NO"/>
              <a:t> </a:t>
            </a:r>
            <a:r>
              <a:rPr lang="nb-NO" err="1"/>
              <a:t>Bildeformat-fanen</a:t>
            </a:r>
            <a:r>
              <a:rPr lang="nb-NO"/>
              <a:t> &gt; </a:t>
            </a:r>
            <a:r>
              <a:rPr lang="nb-NO" err="1"/>
              <a:t>Korrigeringer</a:t>
            </a:r>
            <a:r>
              <a:rPr lang="nb-NO"/>
              <a:t>. </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
        <p:nvSpPr>
          <p:cNvPr id="9" name="Tittel 1">
            <a:extLst>
              <a:ext uri="{FF2B5EF4-FFF2-40B4-BE49-F238E27FC236}">
                <a16:creationId xmlns:a16="http://schemas.microsoft.com/office/drawing/2014/main" id="{2A8A5D1E-CF78-027F-BF70-EA68A4EF52F1}"/>
              </a:ext>
            </a:extLst>
          </p:cNvPr>
          <p:cNvSpPr>
            <a:spLocks noGrp="1"/>
          </p:cNvSpPr>
          <p:nvPr>
            <p:ph type="ctrTitle"/>
          </p:nvPr>
        </p:nvSpPr>
        <p:spPr>
          <a:xfrm>
            <a:off x="1487489" y="2640815"/>
            <a:ext cx="9217024" cy="1443472"/>
          </a:xfrm>
        </p:spPr>
        <p:txBody>
          <a:bodyPr anchor="t" anchorCtr="0">
            <a:noAutofit/>
          </a:bodyPr>
          <a:lstStyle>
            <a:lvl1pPr algn="ctr">
              <a:lnSpc>
                <a:spcPct val="100000"/>
              </a:lnSpc>
              <a:defRPr sz="4690">
                <a:solidFill>
                  <a:schemeClr val="bg1"/>
                </a:solidFill>
              </a:defRPr>
            </a:lvl1pPr>
          </a:lstStyle>
          <a:p>
            <a:r>
              <a:rPr lang="nb-NO"/>
              <a:t>Klikk for å redigere tittelstil</a:t>
            </a:r>
          </a:p>
        </p:txBody>
      </p:sp>
      <p:sp>
        <p:nvSpPr>
          <p:cNvPr id="11" name="Undertittel 2">
            <a:extLst>
              <a:ext uri="{FF2B5EF4-FFF2-40B4-BE49-F238E27FC236}">
                <a16:creationId xmlns:a16="http://schemas.microsoft.com/office/drawing/2014/main" id="{644B20AE-75F5-CA81-5602-207D975A56AA}"/>
              </a:ext>
            </a:extLst>
          </p:cNvPr>
          <p:cNvSpPr>
            <a:spLocks noGrp="1"/>
          </p:cNvSpPr>
          <p:nvPr>
            <p:ph type="subTitle" idx="1" hasCustomPrompt="1"/>
          </p:nvPr>
        </p:nvSpPr>
        <p:spPr>
          <a:xfrm>
            <a:off x="3392488" y="5027944"/>
            <a:ext cx="5407025" cy="591806"/>
          </a:xfrm>
        </p:spPr>
        <p:txBody>
          <a:bodyPr>
            <a:noAutofit/>
          </a:bodyPr>
          <a:lstStyle>
            <a:lvl1pPr marL="0" indent="0" algn="ctr">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Undertittel</a:t>
            </a:r>
            <a:endParaRPr lang="nb-NO"/>
          </a:p>
        </p:txBody>
      </p:sp>
    </p:spTree>
    <p:extLst>
      <p:ext uri="{BB962C8B-B14F-4D97-AF65-F5344CB8AC3E}">
        <p14:creationId xmlns:p14="http://schemas.microsoft.com/office/powerpoint/2010/main" val="3358434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340349"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32012905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redragsholder">
    <p:spTree>
      <p:nvGrpSpPr>
        <p:cNvPr id="1" name=""/>
        <p:cNvGrpSpPr/>
        <p:nvPr/>
      </p:nvGrpSpPr>
      <p:grpSpPr>
        <a:xfrm>
          <a:off x="0" y="0"/>
          <a:ext cx="0" cy="0"/>
          <a:chOff x="0" y="0"/>
          <a:chExt cx="0" cy="0"/>
        </a:xfrm>
      </p:grpSpPr>
      <p:pic>
        <p:nvPicPr>
          <p:cNvPr id="20" name="Bakgrunn">
            <a:extLst>
              <a:ext uri="{FF2B5EF4-FFF2-40B4-BE49-F238E27FC236}">
                <a16:creationId xmlns:a16="http://schemas.microsoft.com/office/drawing/2014/main" id="{0D809F8B-6594-DDA9-E6B3-F959C1247D7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2" name="Tittel 1">
            <a:extLst>
              <a:ext uri="{FF2B5EF4-FFF2-40B4-BE49-F238E27FC236}">
                <a16:creationId xmlns:a16="http://schemas.microsoft.com/office/drawing/2014/main" id="{18852FBA-A3B8-96BF-7F56-D7EEA9A53067}"/>
              </a:ext>
            </a:extLst>
          </p:cNvPr>
          <p:cNvSpPr>
            <a:spLocks noGrp="1"/>
          </p:cNvSpPr>
          <p:nvPr>
            <p:ph type="title" hasCustomPrompt="1"/>
          </p:nvPr>
        </p:nvSpPr>
        <p:spPr>
          <a:xfrm>
            <a:off x="6254750" y="2527089"/>
            <a:ext cx="5429250" cy="461665"/>
          </a:xfrm>
        </p:spPr>
        <p:txBody>
          <a:bodyPr anchor="t" anchorCtr="0">
            <a:spAutoFit/>
          </a:bodyPr>
          <a:lstStyle>
            <a:lvl1pPr>
              <a:defRPr sz="3000"/>
            </a:lvl1pPr>
          </a:lstStyle>
          <a:p>
            <a:r>
              <a:rPr lang="nb-NO"/>
              <a:t>Navn </a:t>
            </a:r>
            <a:r>
              <a:rPr lang="nb-NO" err="1"/>
              <a:t>Navnesen</a:t>
            </a:r>
            <a:endParaRPr lang="nb-NO"/>
          </a:p>
        </p:txBody>
      </p:sp>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16" name="Plassholder for tekst 12">
            <a:extLst>
              <a:ext uri="{FF2B5EF4-FFF2-40B4-BE49-F238E27FC236}">
                <a16:creationId xmlns:a16="http://schemas.microsoft.com/office/drawing/2014/main" id="{1AFAF5EF-6891-F098-DD34-B1594D40AE88}"/>
              </a:ext>
            </a:extLst>
          </p:cNvPr>
          <p:cNvSpPr>
            <a:spLocks noGrp="1"/>
          </p:cNvSpPr>
          <p:nvPr>
            <p:ph type="body" sz="quarter" idx="14" hasCustomPrompt="1"/>
          </p:nvPr>
        </p:nvSpPr>
        <p:spPr>
          <a:xfrm>
            <a:off x="6254750" y="4192057"/>
            <a:ext cx="5429250" cy="295466"/>
          </a:xfrm>
        </p:spPr>
        <p:txBody>
          <a:bodyPr anchor="t" anchorCtr="0">
            <a:noAutofit/>
          </a:bodyPr>
          <a:lstStyle>
            <a:lvl1pPr marL="0" indent="0">
              <a:buNone/>
              <a:defRPr sz="1920"/>
            </a:lvl1pPr>
            <a:lvl2pPr marL="457200" indent="0">
              <a:buNone/>
              <a:defRPr sz="1920"/>
            </a:lvl2pPr>
            <a:lvl3pPr>
              <a:defRPr sz="1920"/>
            </a:lvl3pPr>
          </a:lstStyle>
          <a:p>
            <a:pPr lvl="0"/>
            <a:r>
              <a:rPr lang="nb-NO"/>
              <a:t>Stillingstittel</a:t>
            </a:r>
          </a:p>
        </p:txBody>
      </p:sp>
      <p:sp>
        <p:nvSpPr>
          <p:cNvPr id="13" name="Plassholder for tekst 12">
            <a:extLst>
              <a:ext uri="{FF2B5EF4-FFF2-40B4-BE49-F238E27FC236}">
                <a16:creationId xmlns:a16="http://schemas.microsoft.com/office/drawing/2014/main" id="{3292A660-80D8-0E34-F830-E39EF64189BE}"/>
              </a:ext>
            </a:extLst>
          </p:cNvPr>
          <p:cNvSpPr>
            <a:spLocks noGrp="1"/>
          </p:cNvSpPr>
          <p:nvPr>
            <p:ph type="body" sz="quarter" idx="13" hasCustomPrompt="1"/>
          </p:nvPr>
        </p:nvSpPr>
        <p:spPr>
          <a:xfrm>
            <a:off x="6254750" y="4737099"/>
            <a:ext cx="5429250" cy="634685"/>
          </a:xfrm>
        </p:spPr>
        <p:txBody>
          <a:bodyPr anchor="t" anchorCtr="0"/>
          <a:lstStyle>
            <a:lvl1pPr marL="0" indent="0">
              <a:buNone/>
              <a:defRPr sz="1920"/>
            </a:lvl1pPr>
            <a:lvl2pPr marL="457200" indent="0">
              <a:buNone/>
              <a:defRPr sz="1920"/>
            </a:lvl2pPr>
            <a:lvl3pPr>
              <a:defRPr sz="1920"/>
            </a:lvl3pPr>
          </a:lstStyle>
          <a:p>
            <a:pPr lvl="0"/>
            <a:r>
              <a:rPr lang="nb-NO"/>
              <a:t>Kontaktinformasjon</a:t>
            </a:r>
          </a:p>
        </p:txBody>
      </p:sp>
      <p:sp>
        <p:nvSpPr>
          <p:cNvPr id="17" name="Plassholder for bilde 9">
            <a:extLst>
              <a:ext uri="{FF2B5EF4-FFF2-40B4-BE49-F238E27FC236}">
                <a16:creationId xmlns:a16="http://schemas.microsoft.com/office/drawing/2014/main" id="{DBCD7D44-0F84-E966-4A88-2A40FF606102}"/>
              </a:ext>
            </a:extLst>
          </p:cNvPr>
          <p:cNvSpPr>
            <a:spLocks noGrp="1"/>
          </p:cNvSpPr>
          <p:nvPr>
            <p:ph type="pic" sz="quarter" idx="15" hasCustomPrompt="1"/>
          </p:nvPr>
        </p:nvSpPr>
        <p:spPr>
          <a:xfrm>
            <a:off x="1803399" y="633414"/>
            <a:ext cx="3492501" cy="47048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20863723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7212012"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7211218"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393360617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indre 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4340225"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362774302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Mindre 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8170863"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8170069"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08000"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92966689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2554505"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7" y="4363891"/>
            <a:ext cx="2555082"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1" name="Plassholder for media 10">
            <a:extLst>
              <a:ext uri="{FF2B5EF4-FFF2-40B4-BE49-F238E27FC236}">
                <a16:creationId xmlns:a16="http://schemas.microsoft.com/office/drawing/2014/main" id="{1738FBB7-0743-D037-4309-B255C61E5514}"/>
              </a:ext>
            </a:extLst>
          </p:cNvPr>
          <p:cNvSpPr>
            <a:spLocks noGrp="1" noChangeAspect="1"/>
          </p:cNvSpPr>
          <p:nvPr>
            <p:ph type="media" sz="quarter" idx="15"/>
          </p:nvPr>
        </p:nvSpPr>
        <p:spPr>
          <a:xfrm>
            <a:off x="3381374" y="965199"/>
            <a:ext cx="8302626" cy="4670227"/>
          </a:xfrm>
        </p:spPr>
        <p:txBody>
          <a:bodyPr/>
          <a:lstStyle>
            <a:lvl1pPr marL="0" indent="0" algn="ctr">
              <a:buNone/>
              <a:defRPr sz="1280">
                <a:solidFill>
                  <a:schemeClr val="tx1">
                    <a:lumMod val="65000"/>
                    <a:lumOff val="35000"/>
                  </a:schemeClr>
                </a:solidFill>
              </a:defRPr>
            </a:lvl1pPr>
          </a:lstStyle>
          <a:p>
            <a:r>
              <a:rPr lang="nb-NO"/>
              <a:t>Klikk ikonet for å legge til media</a:t>
            </a:r>
          </a:p>
        </p:txBody>
      </p:sp>
    </p:spTree>
    <p:extLst>
      <p:ext uri="{BB962C8B-B14F-4D97-AF65-F5344CB8AC3E}">
        <p14:creationId xmlns:p14="http://schemas.microsoft.com/office/powerpoint/2010/main" val="250601903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oredragsholder">
    <p:spTree>
      <p:nvGrpSpPr>
        <p:cNvPr id="1" name=""/>
        <p:cNvGrpSpPr/>
        <p:nvPr/>
      </p:nvGrpSpPr>
      <p:grpSpPr>
        <a:xfrm>
          <a:off x="0" y="0"/>
          <a:ext cx="0" cy="0"/>
          <a:chOff x="0" y="0"/>
          <a:chExt cx="0" cy="0"/>
        </a:xfrm>
      </p:grpSpPr>
      <p:pic>
        <p:nvPicPr>
          <p:cNvPr id="20" name="Bakgrunn">
            <a:extLst>
              <a:ext uri="{FF2B5EF4-FFF2-40B4-BE49-F238E27FC236}">
                <a16:creationId xmlns:a16="http://schemas.microsoft.com/office/drawing/2014/main" id="{0D809F8B-6594-DDA9-E6B3-F959C1247D7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2" name="Tittel 1">
            <a:extLst>
              <a:ext uri="{FF2B5EF4-FFF2-40B4-BE49-F238E27FC236}">
                <a16:creationId xmlns:a16="http://schemas.microsoft.com/office/drawing/2014/main" id="{18852FBA-A3B8-96BF-7F56-D7EEA9A53067}"/>
              </a:ext>
            </a:extLst>
          </p:cNvPr>
          <p:cNvSpPr>
            <a:spLocks noGrp="1"/>
          </p:cNvSpPr>
          <p:nvPr>
            <p:ph type="title" hasCustomPrompt="1"/>
          </p:nvPr>
        </p:nvSpPr>
        <p:spPr>
          <a:xfrm>
            <a:off x="6254750" y="2527089"/>
            <a:ext cx="5429250" cy="461665"/>
          </a:xfrm>
        </p:spPr>
        <p:txBody>
          <a:bodyPr anchor="t" anchorCtr="0">
            <a:spAutoFit/>
          </a:bodyPr>
          <a:lstStyle>
            <a:lvl1pPr>
              <a:defRPr sz="3000"/>
            </a:lvl1pPr>
          </a:lstStyle>
          <a:p>
            <a:r>
              <a:rPr lang="nb-NO"/>
              <a:t>Navn </a:t>
            </a:r>
            <a:r>
              <a:rPr lang="nb-NO" err="1"/>
              <a:t>Navnesen</a:t>
            </a:r>
            <a:endParaRPr lang="nb-NO"/>
          </a:p>
        </p:txBody>
      </p:sp>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16" name="Plassholder for tekst 12">
            <a:extLst>
              <a:ext uri="{FF2B5EF4-FFF2-40B4-BE49-F238E27FC236}">
                <a16:creationId xmlns:a16="http://schemas.microsoft.com/office/drawing/2014/main" id="{1AFAF5EF-6891-F098-DD34-B1594D40AE88}"/>
              </a:ext>
            </a:extLst>
          </p:cNvPr>
          <p:cNvSpPr>
            <a:spLocks noGrp="1"/>
          </p:cNvSpPr>
          <p:nvPr>
            <p:ph type="body" sz="quarter" idx="14" hasCustomPrompt="1"/>
          </p:nvPr>
        </p:nvSpPr>
        <p:spPr>
          <a:xfrm>
            <a:off x="6254750" y="4192057"/>
            <a:ext cx="5429250" cy="295466"/>
          </a:xfrm>
        </p:spPr>
        <p:txBody>
          <a:bodyPr anchor="t" anchorCtr="0">
            <a:noAutofit/>
          </a:bodyPr>
          <a:lstStyle>
            <a:lvl1pPr marL="0" indent="0">
              <a:buNone/>
              <a:defRPr sz="1920"/>
            </a:lvl1pPr>
            <a:lvl2pPr marL="457200" indent="0">
              <a:buNone/>
              <a:defRPr sz="1920"/>
            </a:lvl2pPr>
            <a:lvl3pPr>
              <a:defRPr sz="1920"/>
            </a:lvl3pPr>
          </a:lstStyle>
          <a:p>
            <a:pPr lvl="0"/>
            <a:r>
              <a:rPr lang="nb-NO"/>
              <a:t>Stillingstittel</a:t>
            </a:r>
          </a:p>
        </p:txBody>
      </p:sp>
      <p:sp>
        <p:nvSpPr>
          <p:cNvPr id="13" name="Plassholder for tekst 12">
            <a:extLst>
              <a:ext uri="{FF2B5EF4-FFF2-40B4-BE49-F238E27FC236}">
                <a16:creationId xmlns:a16="http://schemas.microsoft.com/office/drawing/2014/main" id="{3292A660-80D8-0E34-F830-E39EF64189BE}"/>
              </a:ext>
            </a:extLst>
          </p:cNvPr>
          <p:cNvSpPr>
            <a:spLocks noGrp="1"/>
          </p:cNvSpPr>
          <p:nvPr>
            <p:ph type="body" sz="quarter" idx="13" hasCustomPrompt="1"/>
          </p:nvPr>
        </p:nvSpPr>
        <p:spPr>
          <a:xfrm>
            <a:off x="6254750" y="4737099"/>
            <a:ext cx="5429250" cy="634685"/>
          </a:xfrm>
        </p:spPr>
        <p:txBody>
          <a:bodyPr anchor="t" anchorCtr="0"/>
          <a:lstStyle>
            <a:lvl1pPr marL="0" indent="0">
              <a:buNone/>
              <a:defRPr sz="1920"/>
            </a:lvl1pPr>
            <a:lvl2pPr marL="457200" indent="0">
              <a:buNone/>
              <a:defRPr sz="1920"/>
            </a:lvl2pPr>
            <a:lvl3pPr>
              <a:defRPr sz="1920"/>
            </a:lvl3pPr>
          </a:lstStyle>
          <a:p>
            <a:pPr lvl="0"/>
            <a:r>
              <a:rPr lang="nb-NO"/>
              <a:t>Kontaktinformasjon</a:t>
            </a:r>
          </a:p>
        </p:txBody>
      </p:sp>
      <p:sp>
        <p:nvSpPr>
          <p:cNvPr id="17" name="Plassholder for bilde 9">
            <a:extLst>
              <a:ext uri="{FF2B5EF4-FFF2-40B4-BE49-F238E27FC236}">
                <a16:creationId xmlns:a16="http://schemas.microsoft.com/office/drawing/2014/main" id="{DBCD7D44-0F84-E966-4A88-2A40FF606102}"/>
              </a:ext>
            </a:extLst>
          </p:cNvPr>
          <p:cNvSpPr>
            <a:spLocks noGrp="1"/>
          </p:cNvSpPr>
          <p:nvPr>
            <p:ph type="pic" sz="quarter" idx="15" hasCustomPrompt="1"/>
          </p:nvPr>
        </p:nvSpPr>
        <p:spPr>
          <a:xfrm>
            <a:off x="1803399" y="633414"/>
            <a:ext cx="3492501" cy="47048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292574121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re personer">
    <p:spTree>
      <p:nvGrpSpPr>
        <p:cNvPr id="1" name=""/>
        <p:cNvGrpSpPr/>
        <p:nvPr/>
      </p:nvGrpSpPr>
      <p:grpSpPr>
        <a:xfrm>
          <a:off x="0" y="0"/>
          <a:ext cx="0" cy="0"/>
          <a:chOff x="0" y="0"/>
          <a:chExt cx="0" cy="0"/>
        </a:xfrm>
      </p:grpSpPr>
      <p:pic>
        <p:nvPicPr>
          <p:cNvPr id="2" name="Bakgrunn">
            <a:extLst>
              <a:ext uri="{FF2B5EF4-FFF2-40B4-BE49-F238E27FC236}">
                <a16:creationId xmlns:a16="http://schemas.microsoft.com/office/drawing/2014/main" id="{82A16B8F-E0C8-9D9B-AD8A-4C0B7A2C319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8" name="Plassholder for bilde 9">
            <a:extLst>
              <a:ext uri="{FF2B5EF4-FFF2-40B4-BE49-F238E27FC236}">
                <a16:creationId xmlns:a16="http://schemas.microsoft.com/office/drawing/2014/main" id="{34B5D24B-2800-CAC2-4CEF-AB454968D407}"/>
              </a:ext>
            </a:extLst>
          </p:cNvPr>
          <p:cNvSpPr>
            <a:spLocks noGrp="1"/>
          </p:cNvSpPr>
          <p:nvPr>
            <p:ph type="pic" sz="quarter" idx="13" hasCustomPrompt="1"/>
          </p:nvPr>
        </p:nvSpPr>
        <p:spPr>
          <a:xfrm>
            <a:off x="50800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B6D436D9-203D-126A-E0B1-20ADEE3C0AB2}"/>
              </a:ext>
            </a:extLst>
          </p:cNvPr>
          <p:cNvSpPr>
            <a:spLocks noGrp="1"/>
          </p:cNvSpPr>
          <p:nvPr>
            <p:ph type="body" sz="quarter" idx="14" hasCustomPrompt="1"/>
          </p:nvPr>
        </p:nvSpPr>
        <p:spPr>
          <a:xfrm>
            <a:off x="50800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14" name="Plassholder for tekst 11">
            <a:extLst>
              <a:ext uri="{FF2B5EF4-FFF2-40B4-BE49-F238E27FC236}">
                <a16:creationId xmlns:a16="http://schemas.microsoft.com/office/drawing/2014/main" id="{60667DA7-070B-41A5-B209-DA5076EDE606}"/>
              </a:ext>
            </a:extLst>
          </p:cNvPr>
          <p:cNvSpPr>
            <a:spLocks noGrp="1"/>
          </p:cNvSpPr>
          <p:nvPr>
            <p:ph type="body" sz="quarter" idx="15" hasCustomPrompt="1"/>
          </p:nvPr>
        </p:nvSpPr>
        <p:spPr>
          <a:xfrm>
            <a:off x="50800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15" name="Plassholder for bilde 9">
            <a:extLst>
              <a:ext uri="{FF2B5EF4-FFF2-40B4-BE49-F238E27FC236}">
                <a16:creationId xmlns:a16="http://schemas.microsoft.com/office/drawing/2014/main" id="{5F961436-BA38-F2E0-FB61-51E6CC2393C9}"/>
              </a:ext>
            </a:extLst>
          </p:cNvPr>
          <p:cNvSpPr>
            <a:spLocks noGrp="1"/>
          </p:cNvSpPr>
          <p:nvPr>
            <p:ph type="pic" sz="quarter" idx="16" hasCustomPrompt="1"/>
          </p:nvPr>
        </p:nvSpPr>
        <p:spPr>
          <a:xfrm>
            <a:off x="4340225"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8" name="Plassholder for tekst 11">
            <a:extLst>
              <a:ext uri="{FF2B5EF4-FFF2-40B4-BE49-F238E27FC236}">
                <a16:creationId xmlns:a16="http://schemas.microsoft.com/office/drawing/2014/main" id="{8AE45EFD-26BB-B0EF-1689-F0FA533FFD0F}"/>
              </a:ext>
            </a:extLst>
          </p:cNvPr>
          <p:cNvSpPr>
            <a:spLocks noGrp="1"/>
          </p:cNvSpPr>
          <p:nvPr>
            <p:ph type="body" sz="quarter" idx="17" hasCustomPrompt="1"/>
          </p:nvPr>
        </p:nvSpPr>
        <p:spPr>
          <a:xfrm>
            <a:off x="4340225"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0" name="Plassholder for tekst 11">
            <a:extLst>
              <a:ext uri="{FF2B5EF4-FFF2-40B4-BE49-F238E27FC236}">
                <a16:creationId xmlns:a16="http://schemas.microsoft.com/office/drawing/2014/main" id="{C1F1B68C-C2B7-7609-C1AC-0B39FEC6EF71}"/>
              </a:ext>
            </a:extLst>
          </p:cNvPr>
          <p:cNvSpPr>
            <a:spLocks noGrp="1"/>
          </p:cNvSpPr>
          <p:nvPr>
            <p:ph type="body" sz="quarter" idx="18" hasCustomPrompt="1"/>
          </p:nvPr>
        </p:nvSpPr>
        <p:spPr>
          <a:xfrm>
            <a:off x="4340225"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1" name="Plassholder for bilde 9">
            <a:extLst>
              <a:ext uri="{FF2B5EF4-FFF2-40B4-BE49-F238E27FC236}">
                <a16:creationId xmlns:a16="http://schemas.microsoft.com/office/drawing/2014/main" id="{49325E17-F243-8A88-B31D-25EEB02C1FF4}"/>
              </a:ext>
            </a:extLst>
          </p:cNvPr>
          <p:cNvSpPr>
            <a:spLocks noGrp="1"/>
          </p:cNvSpPr>
          <p:nvPr>
            <p:ph type="pic" sz="quarter" idx="19" hasCustomPrompt="1"/>
          </p:nvPr>
        </p:nvSpPr>
        <p:spPr>
          <a:xfrm>
            <a:off x="817245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22" name="Plassholder for tekst 11">
            <a:extLst>
              <a:ext uri="{FF2B5EF4-FFF2-40B4-BE49-F238E27FC236}">
                <a16:creationId xmlns:a16="http://schemas.microsoft.com/office/drawing/2014/main" id="{8B3E09C6-E5BC-1FCA-BB1E-D332DD1A31C1}"/>
              </a:ext>
            </a:extLst>
          </p:cNvPr>
          <p:cNvSpPr>
            <a:spLocks noGrp="1"/>
          </p:cNvSpPr>
          <p:nvPr>
            <p:ph type="body" sz="quarter" idx="20" hasCustomPrompt="1"/>
          </p:nvPr>
        </p:nvSpPr>
        <p:spPr>
          <a:xfrm>
            <a:off x="817245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3" name="Plassholder for tekst 11">
            <a:extLst>
              <a:ext uri="{FF2B5EF4-FFF2-40B4-BE49-F238E27FC236}">
                <a16:creationId xmlns:a16="http://schemas.microsoft.com/office/drawing/2014/main" id="{59CFA003-DD32-BD68-7492-1BAF7AF1AACA}"/>
              </a:ext>
            </a:extLst>
          </p:cNvPr>
          <p:cNvSpPr>
            <a:spLocks noGrp="1"/>
          </p:cNvSpPr>
          <p:nvPr>
            <p:ph type="body" sz="quarter" idx="21" hasCustomPrompt="1"/>
          </p:nvPr>
        </p:nvSpPr>
        <p:spPr>
          <a:xfrm>
            <a:off x="817245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4" name="Tittel 1">
            <a:extLst>
              <a:ext uri="{FF2B5EF4-FFF2-40B4-BE49-F238E27FC236}">
                <a16:creationId xmlns:a16="http://schemas.microsoft.com/office/drawing/2014/main" id="{4F6D96B2-9305-A690-7BEA-E8F2EBD13A7C}"/>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Tree>
    <p:extLst>
      <p:ext uri="{BB962C8B-B14F-4D97-AF65-F5344CB8AC3E}">
        <p14:creationId xmlns:p14="http://schemas.microsoft.com/office/powerpoint/2010/main" val="93614181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Avslutning B">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487488" y="4869659"/>
            <a:ext cx="5407025" cy="295466"/>
          </a:xfrm>
        </p:spPr>
        <p:txBody>
          <a:bodyPr>
            <a:noAutofit/>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5262659"/>
            <a:ext cx="5407025" cy="850803"/>
          </a:xfrm>
        </p:spPr>
        <p:txBody>
          <a:bodyPr anchor="t" anchorCtr="0">
            <a:noAutofit/>
          </a:bodyPr>
          <a:lstStyle>
            <a:lvl1pPr marL="0" indent="0">
              <a:spcBef>
                <a:spcPts val="0"/>
              </a:spcBef>
              <a:buNone/>
              <a:defRPr sz="1540">
                <a:solidFill>
                  <a:schemeClr val="accent1"/>
                </a:solidFill>
              </a:defRPr>
            </a:lvl1pPr>
          </a:lstStyle>
          <a:p>
            <a:pPr lvl="0"/>
            <a:r>
              <a:rPr lang="nb-NO"/>
              <a:t>Kontaktinformasjon</a:t>
            </a:r>
          </a:p>
        </p:txBody>
      </p:sp>
      <p:pic>
        <p:nvPicPr>
          <p:cNvPr id="7" name="Grafikk 6">
            <a:extLst>
              <a:ext uri="{FF2B5EF4-FFF2-40B4-BE49-F238E27FC236}">
                <a16:creationId xmlns:a16="http://schemas.microsoft.com/office/drawing/2014/main" id="{9C92AE82-1D1A-AFB6-93B6-0BB3C89A122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7185660" y="644633"/>
            <a:ext cx="5006340" cy="5555338"/>
          </a:xfrm>
          <a:prstGeom prst="rect">
            <a:avLst/>
          </a:prstGeom>
        </p:spPr>
      </p:pic>
      <p:pic>
        <p:nvPicPr>
          <p:cNvPr id="8" name="Logo" descr="Riksrevisjonen logo">
            <a:extLst>
              <a:ext uri="{FF2B5EF4-FFF2-40B4-BE49-F238E27FC236}">
                <a16:creationId xmlns:a16="http://schemas.microsoft.com/office/drawing/2014/main" id="{C657E82C-E330-FE2B-3258-EE893A5C8B21}"/>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508002" y="632489"/>
            <a:ext cx="1904996" cy="499790"/>
          </a:xfrm>
          <a:prstGeom prst="rect">
            <a:avLst/>
          </a:prstGeom>
        </p:spPr>
      </p:pic>
    </p:spTree>
    <p:extLst>
      <p:ext uri="{BB962C8B-B14F-4D97-AF65-F5344CB8AC3E}">
        <p14:creationId xmlns:p14="http://schemas.microsoft.com/office/powerpoint/2010/main" val="3278808783"/>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3265040" y="1412776"/>
            <a:ext cx="12995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A685BB56-F2D3-0B41-9C10-EFE7040099BC}"/>
              </a:ext>
            </a:extLst>
          </p:cNvPr>
          <p:cNvSpPr>
            <a:spLocks noGrp="1"/>
          </p:cNvSpPr>
          <p:nvPr>
            <p:ph type="body" sz="quarter" idx="12" hasCustomPrompt="1"/>
          </p:nvPr>
        </p:nvSpPr>
        <p:spPr>
          <a:xfrm>
            <a:off x="409803" y="381131"/>
            <a:ext cx="10937751" cy="914400"/>
          </a:xfrm>
          <a:prstGeom prst="rect">
            <a:avLst/>
          </a:prstGeom>
        </p:spPr>
        <p:txBody>
          <a:bodyPr/>
          <a:lstStyle>
            <a:lvl1pPr marL="0" indent="0">
              <a:buNone/>
              <a:defRPr sz="40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OVERSKRIFT / Overskrift </a:t>
            </a:r>
          </a:p>
        </p:txBody>
      </p:sp>
      <p:sp>
        <p:nvSpPr>
          <p:cNvPr id="6" name="Text Placeholder 6">
            <a:extLst>
              <a:ext uri="{FF2B5EF4-FFF2-40B4-BE49-F238E27FC236}">
                <a16:creationId xmlns:a16="http://schemas.microsoft.com/office/drawing/2014/main" id="{0A26A61A-B898-A84A-95AF-035A71CF0254}"/>
              </a:ext>
            </a:extLst>
          </p:cNvPr>
          <p:cNvSpPr>
            <a:spLocks noGrp="1"/>
          </p:cNvSpPr>
          <p:nvPr>
            <p:ph type="body" sz="quarter" idx="13" hasCustomPrompt="1"/>
          </p:nvPr>
        </p:nvSpPr>
        <p:spPr>
          <a:xfrm>
            <a:off x="432392" y="1385761"/>
            <a:ext cx="10915162" cy="5119970"/>
          </a:xfrm>
          <a:prstGeom prst="rect">
            <a:avLst/>
          </a:prstGeom>
        </p:spPr>
        <p:txBody>
          <a:bodyPr/>
          <a:lstStyle>
            <a:lvl1pPr marL="0" indent="0">
              <a:buNone/>
              <a:defRPr sz="1400">
                <a:solidFill>
                  <a:schemeClr val="tx2"/>
                </a:solidFill>
                <a:latin typeface="Inter" panose="020B0502030000000004" pitchFamily="34" charset="0"/>
                <a:ea typeface="Inter" panose="020B05020300000000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Tree>
    <p:extLst>
      <p:ext uri="{BB962C8B-B14F-4D97-AF65-F5344CB8AC3E}">
        <p14:creationId xmlns:p14="http://schemas.microsoft.com/office/powerpoint/2010/main" val="42536557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 personer">
    <p:spTree>
      <p:nvGrpSpPr>
        <p:cNvPr id="1" name=""/>
        <p:cNvGrpSpPr/>
        <p:nvPr/>
      </p:nvGrpSpPr>
      <p:grpSpPr>
        <a:xfrm>
          <a:off x="0" y="0"/>
          <a:ext cx="0" cy="0"/>
          <a:chOff x="0" y="0"/>
          <a:chExt cx="0" cy="0"/>
        </a:xfrm>
      </p:grpSpPr>
      <p:pic>
        <p:nvPicPr>
          <p:cNvPr id="2" name="Bakgrunn">
            <a:extLst>
              <a:ext uri="{FF2B5EF4-FFF2-40B4-BE49-F238E27FC236}">
                <a16:creationId xmlns:a16="http://schemas.microsoft.com/office/drawing/2014/main" id="{82A16B8F-E0C8-9D9B-AD8A-4C0B7A2C319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8" name="Plassholder for bilde 9">
            <a:extLst>
              <a:ext uri="{FF2B5EF4-FFF2-40B4-BE49-F238E27FC236}">
                <a16:creationId xmlns:a16="http://schemas.microsoft.com/office/drawing/2014/main" id="{34B5D24B-2800-CAC2-4CEF-AB454968D407}"/>
              </a:ext>
            </a:extLst>
          </p:cNvPr>
          <p:cNvSpPr>
            <a:spLocks noGrp="1"/>
          </p:cNvSpPr>
          <p:nvPr>
            <p:ph type="pic" sz="quarter" idx="13" hasCustomPrompt="1"/>
          </p:nvPr>
        </p:nvSpPr>
        <p:spPr>
          <a:xfrm>
            <a:off x="50800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B6D436D9-203D-126A-E0B1-20ADEE3C0AB2}"/>
              </a:ext>
            </a:extLst>
          </p:cNvPr>
          <p:cNvSpPr>
            <a:spLocks noGrp="1"/>
          </p:cNvSpPr>
          <p:nvPr>
            <p:ph type="body" sz="quarter" idx="14" hasCustomPrompt="1"/>
          </p:nvPr>
        </p:nvSpPr>
        <p:spPr>
          <a:xfrm>
            <a:off x="50800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14" name="Plassholder for tekst 11">
            <a:extLst>
              <a:ext uri="{FF2B5EF4-FFF2-40B4-BE49-F238E27FC236}">
                <a16:creationId xmlns:a16="http://schemas.microsoft.com/office/drawing/2014/main" id="{60667DA7-070B-41A5-B209-DA5076EDE606}"/>
              </a:ext>
            </a:extLst>
          </p:cNvPr>
          <p:cNvSpPr>
            <a:spLocks noGrp="1"/>
          </p:cNvSpPr>
          <p:nvPr>
            <p:ph type="body" sz="quarter" idx="15" hasCustomPrompt="1"/>
          </p:nvPr>
        </p:nvSpPr>
        <p:spPr>
          <a:xfrm>
            <a:off x="50800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15" name="Plassholder for bilde 9">
            <a:extLst>
              <a:ext uri="{FF2B5EF4-FFF2-40B4-BE49-F238E27FC236}">
                <a16:creationId xmlns:a16="http://schemas.microsoft.com/office/drawing/2014/main" id="{5F961436-BA38-F2E0-FB61-51E6CC2393C9}"/>
              </a:ext>
            </a:extLst>
          </p:cNvPr>
          <p:cNvSpPr>
            <a:spLocks noGrp="1"/>
          </p:cNvSpPr>
          <p:nvPr>
            <p:ph type="pic" sz="quarter" idx="16" hasCustomPrompt="1"/>
          </p:nvPr>
        </p:nvSpPr>
        <p:spPr>
          <a:xfrm>
            <a:off x="4340225"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8" name="Plassholder for tekst 11">
            <a:extLst>
              <a:ext uri="{FF2B5EF4-FFF2-40B4-BE49-F238E27FC236}">
                <a16:creationId xmlns:a16="http://schemas.microsoft.com/office/drawing/2014/main" id="{8AE45EFD-26BB-B0EF-1689-F0FA533FFD0F}"/>
              </a:ext>
            </a:extLst>
          </p:cNvPr>
          <p:cNvSpPr>
            <a:spLocks noGrp="1"/>
          </p:cNvSpPr>
          <p:nvPr>
            <p:ph type="body" sz="quarter" idx="17" hasCustomPrompt="1"/>
          </p:nvPr>
        </p:nvSpPr>
        <p:spPr>
          <a:xfrm>
            <a:off x="4340225"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0" name="Plassholder for tekst 11">
            <a:extLst>
              <a:ext uri="{FF2B5EF4-FFF2-40B4-BE49-F238E27FC236}">
                <a16:creationId xmlns:a16="http://schemas.microsoft.com/office/drawing/2014/main" id="{C1F1B68C-C2B7-7609-C1AC-0B39FEC6EF71}"/>
              </a:ext>
            </a:extLst>
          </p:cNvPr>
          <p:cNvSpPr>
            <a:spLocks noGrp="1"/>
          </p:cNvSpPr>
          <p:nvPr>
            <p:ph type="body" sz="quarter" idx="18" hasCustomPrompt="1"/>
          </p:nvPr>
        </p:nvSpPr>
        <p:spPr>
          <a:xfrm>
            <a:off x="4340225"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1" name="Plassholder for bilde 9">
            <a:extLst>
              <a:ext uri="{FF2B5EF4-FFF2-40B4-BE49-F238E27FC236}">
                <a16:creationId xmlns:a16="http://schemas.microsoft.com/office/drawing/2014/main" id="{49325E17-F243-8A88-B31D-25EEB02C1FF4}"/>
              </a:ext>
            </a:extLst>
          </p:cNvPr>
          <p:cNvSpPr>
            <a:spLocks noGrp="1"/>
          </p:cNvSpPr>
          <p:nvPr>
            <p:ph type="pic" sz="quarter" idx="19" hasCustomPrompt="1"/>
          </p:nvPr>
        </p:nvSpPr>
        <p:spPr>
          <a:xfrm>
            <a:off x="817245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22" name="Plassholder for tekst 11">
            <a:extLst>
              <a:ext uri="{FF2B5EF4-FFF2-40B4-BE49-F238E27FC236}">
                <a16:creationId xmlns:a16="http://schemas.microsoft.com/office/drawing/2014/main" id="{8B3E09C6-E5BC-1FCA-BB1E-D332DD1A31C1}"/>
              </a:ext>
            </a:extLst>
          </p:cNvPr>
          <p:cNvSpPr>
            <a:spLocks noGrp="1"/>
          </p:cNvSpPr>
          <p:nvPr>
            <p:ph type="body" sz="quarter" idx="20" hasCustomPrompt="1"/>
          </p:nvPr>
        </p:nvSpPr>
        <p:spPr>
          <a:xfrm>
            <a:off x="817245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3" name="Plassholder for tekst 11">
            <a:extLst>
              <a:ext uri="{FF2B5EF4-FFF2-40B4-BE49-F238E27FC236}">
                <a16:creationId xmlns:a16="http://schemas.microsoft.com/office/drawing/2014/main" id="{59CFA003-DD32-BD68-7492-1BAF7AF1AACA}"/>
              </a:ext>
            </a:extLst>
          </p:cNvPr>
          <p:cNvSpPr>
            <a:spLocks noGrp="1"/>
          </p:cNvSpPr>
          <p:nvPr>
            <p:ph type="body" sz="quarter" idx="21" hasCustomPrompt="1"/>
          </p:nvPr>
        </p:nvSpPr>
        <p:spPr>
          <a:xfrm>
            <a:off x="817245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4" name="Tittel 1">
            <a:extLst>
              <a:ext uri="{FF2B5EF4-FFF2-40B4-BE49-F238E27FC236}">
                <a16:creationId xmlns:a16="http://schemas.microsoft.com/office/drawing/2014/main" id="{4F6D96B2-9305-A690-7BEA-E8F2EBD13A7C}"/>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Tree>
    <p:extLst>
      <p:ext uri="{BB962C8B-B14F-4D97-AF65-F5344CB8AC3E}">
        <p14:creationId xmlns:p14="http://schemas.microsoft.com/office/powerpoint/2010/main" val="1673371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orside A">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7001823"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bg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pic>
        <p:nvPicPr>
          <p:cNvPr id="14" name="Grafisk element">
            <a:extLst>
              <a:ext uri="{FF2B5EF4-FFF2-40B4-BE49-F238E27FC236}">
                <a16:creationId xmlns:a16="http://schemas.microsoft.com/office/drawing/2014/main" id="{E7DA99B6-0C96-681A-A63F-E33B8818D12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128125" y="394585"/>
            <a:ext cx="3063875" cy="6068829"/>
          </a:xfrm>
          <a:prstGeom prst="rect">
            <a:avLst/>
          </a:prstGeom>
        </p:spPr>
      </p:pic>
    </p:spTree>
    <p:extLst>
      <p:ext uri="{BB962C8B-B14F-4D97-AF65-F5344CB8AC3E}">
        <p14:creationId xmlns:p14="http://schemas.microsoft.com/office/powerpoint/2010/main" val="3417698093"/>
      </p:ext>
    </p:extLst>
  </p:cSld>
  <p:clrMapOvr>
    <a:masterClrMapping/>
  </p:clrMapOvr>
  <p:extLst>
    <p:ext uri="{DCECCB84-F9BA-43D5-87BE-67443E8EF086}">
      <p15:sldGuideLst xmlns:p15="http://schemas.microsoft.com/office/powerpoint/2012/main">
        <p15:guide id="3"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2270080"/>
            <a:ext cx="3513138" cy="1572546"/>
          </a:xfrm>
        </p:spPr>
        <p:txBody>
          <a:bodyPr>
            <a:noAutofit/>
          </a:bodyPr>
          <a:lstStyle>
            <a:lvl1pPr>
              <a:defRPr/>
            </a:lvl1p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a:xfrm>
            <a:off x="4340224" y="633413"/>
            <a:ext cx="7343775" cy="5480583"/>
          </a:xfrm>
        </p:spPr>
        <p:txBody>
          <a:bodyPr anchor="ctr" anchorCtr="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3190721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tel og punkttegn">
    <p:spTree>
      <p:nvGrpSpPr>
        <p:cNvPr id="1" name=""/>
        <p:cNvGrpSpPr/>
        <p:nvPr/>
      </p:nvGrpSpPr>
      <p:grpSpPr>
        <a:xfrm>
          <a:off x="0" y="0"/>
          <a:ext cx="0" cy="0"/>
          <a:chOff x="0" y="0"/>
          <a:chExt cx="0" cy="0"/>
        </a:xfrm>
      </p:grpSpPr>
      <p:sp>
        <p:nvSpPr>
          <p:cNvPr id="42" name="Lysbildeundertittel"/>
          <p:cNvSpPr txBox="1">
            <a:spLocks noGrp="1"/>
          </p:cNvSpPr>
          <p:nvPr>
            <p:ph type="body" sz="quarter" idx="21" hasCustomPrompt="1"/>
          </p:nvPr>
        </p:nvSpPr>
        <p:spPr>
          <a:xfrm>
            <a:off x="603250" y="1162050"/>
            <a:ext cx="10985500" cy="501650"/>
          </a:xfrm>
          <a:prstGeom prst="rect">
            <a:avLst/>
          </a:prstGeom>
        </p:spPr>
        <p:txBody>
          <a:bodyPr lIns="45719" tIns="45719" rIns="45719" bIns="45719"/>
          <a:lstStyle>
            <a:lvl1pPr marL="0" indent="0" defTabSz="412750">
              <a:spcBef>
                <a:spcPts val="0"/>
              </a:spcBef>
              <a:buSzTx/>
              <a:buNone/>
              <a:defRPr sz="2750">
                <a:latin typeface="+mn-lt"/>
                <a:ea typeface="+mn-ea"/>
                <a:cs typeface="+mn-cs"/>
                <a:sym typeface="Produkt Extralight"/>
              </a:defRPr>
            </a:lvl1pPr>
          </a:lstStyle>
          <a:p>
            <a:r>
              <a:t>Lysbildeundertittel</a:t>
            </a:r>
          </a:p>
        </p:txBody>
      </p:sp>
      <p:sp>
        <p:nvSpPr>
          <p:cNvPr id="43" name="Lysbilde-…"/>
          <p:cNvSpPr txBox="1">
            <a:spLocks noGrp="1"/>
          </p:cNvSpPr>
          <p:nvPr>
            <p:ph type="title" hasCustomPrompt="1"/>
          </p:nvPr>
        </p:nvSpPr>
        <p:spPr>
          <a:prstGeom prst="rect">
            <a:avLst/>
          </a:prstGeom>
        </p:spPr>
        <p:txBody>
          <a:bodyPr/>
          <a:lstStyle/>
          <a:p>
            <a:r>
              <a:t>Lysbilde-
tittel</a:t>
            </a:r>
          </a:p>
          <a:p>
            <a:endParaRPr/>
          </a:p>
        </p:txBody>
      </p:sp>
      <p:sp>
        <p:nvSpPr>
          <p:cNvPr id="44" name="Brødtekst nivå én…"/>
          <p:cNvSpPr txBox="1">
            <a:spLocks noGrp="1"/>
          </p:cNvSpPr>
          <p:nvPr>
            <p:ph type="body" idx="1" hasCustomPrompt="1"/>
          </p:nvPr>
        </p:nvSpPr>
        <p:spPr>
          <a:prstGeom prst="rect">
            <a:avLst/>
          </a:prstGeom>
        </p:spPr>
        <p:txBody>
          <a:bodyPr/>
          <a:lstStyle/>
          <a:p>
            <a:r>
              <a:t>Punkttegntekst i lysbilde</a:t>
            </a:r>
          </a:p>
          <a:p>
            <a:pPr lvl="1"/>
            <a:endParaRPr/>
          </a:p>
          <a:p>
            <a:pPr lvl="2"/>
            <a:endParaRPr/>
          </a:p>
          <a:p>
            <a:pPr lvl="3"/>
            <a:endParaRPr/>
          </a:p>
          <a:p>
            <a:pPr lvl="4"/>
            <a:endParaRPr/>
          </a:p>
        </p:txBody>
      </p:sp>
      <p:sp>
        <p:nvSpPr>
          <p:cNvPr id="45"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4479333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teldeler A">
    <p:bg>
      <p:bgPr>
        <a:solidFill>
          <a:schemeClr val="accent1"/>
        </a:solidFill>
        <a:effectLst/>
      </p:bgPr>
    </p:bg>
    <p:spTree>
      <p:nvGrpSpPr>
        <p:cNvPr id="1" name=""/>
        <p:cNvGrpSpPr/>
        <p:nvPr/>
      </p:nvGrpSpPr>
      <p:grpSpPr>
        <a:xfrm>
          <a:off x="0" y="0"/>
          <a:ext cx="0" cy="0"/>
          <a:chOff x="0" y="0"/>
          <a:chExt cx="0" cy="0"/>
        </a:xfrm>
      </p:grpSpPr>
      <p:pic>
        <p:nvPicPr>
          <p:cNvPr id="16" name="Bakgrunn">
            <a:extLst>
              <a:ext uri="{FF2B5EF4-FFF2-40B4-BE49-F238E27FC236}">
                <a16:creationId xmlns:a16="http://schemas.microsoft.com/office/drawing/2014/main" id="{A29888DD-48F9-C324-5A51-1CED02849A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7" name="Tittel 1">
            <a:extLst>
              <a:ext uri="{FF2B5EF4-FFF2-40B4-BE49-F238E27FC236}">
                <a16:creationId xmlns:a16="http://schemas.microsoft.com/office/drawing/2014/main" id="{FCBEB32C-8211-2F5E-F237-7E8E619ACAF0}"/>
              </a:ext>
            </a:extLst>
          </p:cNvPr>
          <p:cNvSpPr>
            <a:spLocks noGrp="1"/>
          </p:cNvSpPr>
          <p:nvPr>
            <p:ph type="ctrTitle"/>
          </p:nvPr>
        </p:nvSpPr>
        <p:spPr>
          <a:xfrm>
            <a:off x="528638" y="178117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8" name="Undertittel 2">
            <a:extLst>
              <a:ext uri="{FF2B5EF4-FFF2-40B4-BE49-F238E27FC236}">
                <a16:creationId xmlns:a16="http://schemas.microsoft.com/office/drawing/2014/main" id="{7836134F-10BC-5E04-A410-BFBE2025F51F}"/>
              </a:ext>
            </a:extLst>
          </p:cNvPr>
          <p:cNvSpPr>
            <a:spLocks noGrp="1"/>
          </p:cNvSpPr>
          <p:nvPr>
            <p:ph type="subTitle" idx="1"/>
          </p:nvPr>
        </p:nvSpPr>
        <p:spPr>
          <a:xfrm>
            <a:off x="528638" y="410526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pic>
        <p:nvPicPr>
          <p:cNvPr id="12" name="Symbol">
            <a:extLst>
              <a:ext uri="{FF2B5EF4-FFF2-40B4-BE49-F238E27FC236}">
                <a16:creationId xmlns:a16="http://schemas.microsoft.com/office/drawing/2014/main" id="{3E54F702-BE1D-A76C-D7E3-7EE89994D2F1}"/>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482639" y="6298141"/>
            <a:ext cx="308516" cy="343036"/>
          </a:xfrm>
          <a:prstGeom prst="rect">
            <a:avLst/>
          </a:prstGeom>
        </p:spPr>
      </p:pic>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p:txBody>
          <a:bodyPr/>
          <a:lstStyle>
            <a:lvl1pPr>
              <a:defRPr>
                <a:solidFill>
                  <a:schemeClr val="bg1"/>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p:txBody>
          <a:bodyPr/>
          <a:lstStyle>
            <a:lvl1pPr>
              <a:defRPr>
                <a:solidFill>
                  <a:schemeClr val="bg1"/>
                </a:solid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p:txBody>
          <a:bodyPr/>
          <a:lstStyle>
            <a:lvl1pPr>
              <a:defRPr>
                <a:solidFill>
                  <a:schemeClr val="bg1"/>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28864245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B">
    <p:bg>
      <p:bgPr>
        <a:solidFill>
          <a:schemeClr val="bg1"/>
        </a:solidFill>
        <a:effectLst/>
      </p:bgPr>
    </p:bg>
    <p:spTree>
      <p:nvGrpSpPr>
        <p:cNvPr id="1" name=""/>
        <p:cNvGrpSpPr/>
        <p:nvPr/>
      </p:nvGrpSpPr>
      <p:grpSpPr>
        <a:xfrm>
          <a:off x="0" y="0"/>
          <a:ext cx="0" cy="0"/>
          <a:chOff x="0" y="0"/>
          <a:chExt cx="0" cy="0"/>
        </a:xfrm>
      </p:grpSpPr>
      <p:sp>
        <p:nvSpPr>
          <p:cNvPr id="6" name="Plassholder for dato 3">
            <a:extLst>
              <a:ext uri="{FF2B5EF4-FFF2-40B4-BE49-F238E27FC236}">
                <a16:creationId xmlns:a16="http://schemas.microsoft.com/office/drawing/2014/main" id="{7A1142C1-D000-408E-46A7-D5603F7ED417}"/>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7" name="Plassholder for bunntekst 4">
            <a:extLst>
              <a:ext uri="{FF2B5EF4-FFF2-40B4-BE49-F238E27FC236}">
                <a16:creationId xmlns:a16="http://schemas.microsoft.com/office/drawing/2014/main" id="{91ADA98E-1588-E91E-87CA-861F92966CEF}"/>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8" name="Plassholder for lysbildenummer 5">
            <a:extLst>
              <a:ext uri="{FF2B5EF4-FFF2-40B4-BE49-F238E27FC236}">
                <a16:creationId xmlns:a16="http://schemas.microsoft.com/office/drawing/2014/main" id="{76000E83-B309-961A-8EDF-BF131BADFDBB}"/>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pic>
        <p:nvPicPr>
          <p:cNvPr id="2" name="Logo" descr="Riksrevisjonen logo">
            <a:extLst>
              <a:ext uri="{FF2B5EF4-FFF2-40B4-BE49-F238E27FC236}">
                <a16:creationId xmlns:a16="http://schemas.microsoft.com/office/drawing/2014/main" id="{C762FE6E-84FB-D28D-5056-C3C7079EAE7C}"/>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3382170" y="2717006"/>
            <a:ext cx="5427663" cy="1423988"/>
          </a:xfrm>
          <a:prstGeom prst="rect">
            <a:avLst/>
          </a:prstGeom>
        </p:spPr>
      </p:pic>
    </p:spTree>
    <p:extLst>
      <p:ext uri="{BB962C8B-B14F-4D97-AF65-F5344CB8AC3E}">
        <p14:creationId xmlns:p14="http://schemas.microsoft.com/office/powerpoint/2010/main" val="3609525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B515B2-D125-C0DC-6694-F236B6CF26AA}"/>
              </a:ext>
            </a:extLst>
          </p:cNvPr>
          <p:cNvSpPr>
            <a:spLocks noGrp="1"/>
          </p:cNvSpPr>
          <p:nvPr>
            <p:ph type="dt" sz="half" idx="10"/>
          </p:nvPr>
        </p:nvSpPr>
        <p:spPr/>
        <p:txBody>
          <a:bodyPr/>
          <a:lstStyle/>
          <a:p>
            <a:fld id="{1802402A-6CE7-B64B-AF22-0F58F0E5013A}" type="datetimeFigureOut">
              <a:rPr lang="en-EG" smtClean="0"/>
              <a:t>3/14/26</a:t>
            </a:fld>
            <a:endParaRPr lang="en-EG"/>
          </a:p>
        </p:txBody>
      </p:sp>
      <p:sp>
        <p:nvSpPr>
          <p:cNvPr id="3" name="Footer Placeholder 2">
            <a:extLst>
              <a:ext uri="{FF2B5EF4-FFF2-40B4-BE49-F238E27FC236}">
                <a16:creationId xmlns:a16="http://schemas.microsoft.com/office/drawing/2014/main" id="{9220774B-5DA6-64B3-0A4F-A57A3F049B05}"/>
              </a:ext>
            </a:extLst>
          </p:cNvPr>
          <p:cNvSpPr>
            <a:spLocks noGrp="1"/>
          </p:cNvSpPr>
          <p:nvPr>
            <p:ph type="ftr" sz="quarter" idx="11"/>
          </p:nvPr>
        </p:nvSpPr>
        <p:spPr/>
        <p:txBody>
          <a:bodyPr/>
          <a:lstStyle/>
          <a:p>
            <a:endParaRPr lang="en-EG"/>
          </a:p>
        </p:txBody>
      </p:sp>
      <p:sp>
        <p:nvSpPr>
          <p:cNvPr id="4" name="Slide Number Placeholder 3">
            <a:extLst>
              <a:ext uri="{FF2B5EF4-FFF2-40B4-BE49-F238E27FC236}">
                <a16:creationId xmlns:a16="http://schemas.microsoft.com/office/drawing/2014/main" id="{E33C3BBA-8F1F-607F-D153-74A8AB7558BA}"/>
              </a:ext>
            </a:extLst>
          </p:cNvPr>
          <p:cNvSpPr>
            <a:spLocks noGrp="1"/>
          </p:cNvSpPr>
          <p:nvPr>
            <p:ph type="sldNum" sz="quarter" idx="12"/>
          </p:nvPr>
        </p:nvSpPr>
        <p:spPr/>
        <p:txBody>
          <a:bodyPr/>
          <a:lstStyle/>
          <a:p>
            <a:fld id="{5A036D82-F19B-7B42-BE72-889B56C2B229}" type="slidenum">
              <a:rPr lang="en-EG" smtClean="0"/>
              <a:t>‹#›</a:t>
            </a:fld>
            <a:endParaRPr lang="en-EG"/>
          </a:p>
        </p:txBody>
      </p:sp>
    </p:spTree>
    <p:extLst>
      <p:ext uri="{BB962C8B-B14F-4D97-AF65-F5344CB8AC3E}">
        <p14:creationId xmlns:p14="http://schemas.microsoft.com/office/powerpoint/2010/main" val="285100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teldeler A">
    <p:bg>
      <p:bgPr>
        <a:solidFill>
          <a:schemeClr val="accent1"/>
        </a:solidFill>
        <a:effectLst/>
      </p:bgPr>
    </p:bg>
    <p:spTree>
      <p:nvGrpSpPr>
        <p:cNvPr id="1" name=""/>
        <p:cNvGrpSpPr/>
        <p:nvPr/>
      </p:nvGrpSpPr>
      <p:grpSpPr>
        <a:xfrm>
          <a:off x="0" y="0"/>
          <a:ext cx="0" cy="0"/>
          <a:chOff x="0" y="0"/>
          <a:chExt cx="0" cy="0"/>
        </a:xfrm>
      </p:grpSpPr>
      <p:pic>
        <p:nvPicPr>
          <p:cNvPr id="16" name="Bakgrunn">
            <a:extLst>
              <a:ext uri="{FF2B5EF4-FFF2-40B4-BE49-F238E27FC236}">
                <a16:creationId xmlns:a16="http://schemas.microsoft.com/office/drawing/2014/main" id="{A29888DD-48F9-C324-5A51-1CED02849A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7" name="Tittel 1">
            <a:extLst>
              <a:ext uri="{FF2B5EF4-FFF2-40B4-BE49-F238E27FC236}">
                <a16:creationId xmlns:a16="http://schemas.microsoft.com/office/drawing/2014/main" id="{FCBEB32C-8211-2F5E-F237-7E8E619ACAF0}"/>
              </a:ext>
            </a:extLst>
          </p:cNvPr>
          <p:cNvSpPr>
            <a:spLocks noGrp="1"/>
          </p:cNvSpPr>
          <p:nvPr>
            <p:ph type="ctrTitle"/>
          </p:nvPr>
        </p:nvSpPr>
        <p:spPr>
          <a:xfrm>
            <a:off x="528638" y="178117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8" name="Undertittel 2">
            <a:extLst>
              <a:ext uri="{FF2B5EF4-FFF2-40B4-BE49-F238E27FC236}">
                <a16:creationId xmlns:a16="http://schemas.microsoft.com/office/drawing/2014/main" id="{7836134F-10BC-5E04-A410-BFBE2025F51F}"/>
              </a:ext>
            </a:extLst>
          </p:cNvPr>
          <p:cNvSpPr>
            <a:spLocks noGrp="1"/>
          </p:cNvSpPr>
          <p:nvPr>
            <p:ph type="subTitle" idx="1"/>
          </p:nvPr>
        </p:nvSpPr>
        <p:spPr>
          <a:xfrm>
            <a:off x="528638" y="410526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pic>
        <p:nvPicPr>
          <p:cNvPr id="12" name="Symbol">
            <a:extLst>
              <a:ext uri="{FF2B5EF4-FFF2-40B4-BE49-F238E27FC236}">
                <a16:creationId xmlns:a16="http://schemas.microsoft.com/office/drawing/2014/main" id="{3E54F702-BE1D-A76C-D7E3-7EE89994D2F1}"/>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482639" y="6298141"/>
            <a:ext cx="308516" cy="343036"/>
          </a:xfrm>
          <a:prstGeom prst="rect">
            <a:avLst/>
          </a:prstGeom>
        </p:spPr>
      </p:pic>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p:txBody>
          <a:bodyPr/>
          <a:lstStyle>
            <a:lvl1pPr>
              <a:defRPr>
                <a:solidFill>
                  <a:schemeClr val="bg1"/>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p:txBody>
          <a:bodyPr/>
          <a:lstStyle>
            <a:lvl1pPr>
              <a:defRPr>
                <a:solidFill>
                  <a:schemeClr val="bg1"/>
                </a:solid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p:txBody>
          <a:bodyPr/>
          <a:lstStyle>
            <a:lvl1pPr>
              <a:defRPr>
                <a:solidFill>
                  <a:schemeClr val="bg1"/>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4712180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teldeler B">
    <p:bg>
      <p:bgPr>
        <a:solidFill>
          <a:schemeClr val="accent1"/>
        </a:solidFill>
        <a:effectLst/>
      </p:bgPr>
    </p:b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FCBEB32C-8211-2F5E-F237-7E8E619ACAF0}"/>
              </a:ext>
            </a:extLst>
          </p:cNvPr>
          <p:cNvSpPr>
            <a:spLocks noGrp="1"/>
          </p:cNvSpPr>
          <p:nvPr>
            <p:ph type="ctrTitle"/>
          </p:nvPr>
        </p:nvSpPr>
        <p:spPr>
          <a:xfrm>
            <a:off x="528638" y="1781175"/>
            <a:ext cx="6365875" cy="1443472"/>
          </a:xfrm>
        </p:spPr>
        <p:txBody>
          <a:bodyPr anchor="t" anchorCtr="0">
            <a:noAutofit/>
          </a:bodyPr>
          <a:lstStyle>
            <a:lvl1pPr algn="l">
              <a:lnSpc>
                <a:spcPct val="100000"/>
              </a:lnSpc>
              <a:defRPr sz="4690">
                <a:solidFill>
                  <a:schemeClr val="bg1"/>
                </a:solidFill>
              </a:defRPr>
            </a:lvl1pPr>
          </a:lstStyle>
          <a:p>
            <a:endParaRPr lang="nb-NO"/>
          </a:p>
        </p:txBody>
      </p:sp>
      <p:sp>
        <p:nvSpPr>
          <p:cNvPr id="8" name="Undertittel 2">
            <a:extLst>
              <a:ext uri="{FF2B5EF4-FFF2-40B4-BE49-F238E27FC236}">
                <a16:creationId xmlns:a16="http://schemas.microsoft.com/office/drawing/2014/main" id="{7836134F-10BC-5E04-A410-BFBE2025F51F}"/>
              </a:ext>
            </a:extLst>
          </p:cNvPr>
          <p:cNvSpPr>
            <a:spLocks noGrp="1"/>
          </p:cNvSpPr>
          <p:nvPr>
            <p:ph type="subTitle" idx="1"/>
          </p:nvPr>
        </p:nvSpPr>
        <p:spPr>
          <a:xfrm>
            <a:off x="528638" y="410526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9" name="Plassholder for bilde 8">
            <a:extLst>
              <a:ext uri="{FF2B5EF4-FFF2-40B4-BE49-F238E27FC236}">
                <a16:creationId xmlns:a16="http://schemas.microsoft.com/office/drawing/2014/main" id="{B9195C9A-F68E-01C7-127B-146369F08265}"/>
              </a:ext>
            </a:extLst>
          </p:cNvPr>
          <p:cNvSpPr>
            <a:spLocks noGrp="1"/>
          </p:cNvSpPr>
          <p:nvPr>
            <p:ph type="pic" sz="quarter" idx="15" hasCustomPrompt="1"/>
          </p:nvPr>
        </p:nvSpPr>
        <p:spPr>
          <a:xfrm>
            <a:off x="7157965" y="0"/>
            <a:ext cx="5034036" cy="6858000"/>
          </a:xfrm>
          <a:custGeom>
            <a:avLst/>
            <a:gdLst>
              <a:gd name="connsiteX0" fmla="*/ 1348431 w 5034036"/>
              <a:gd name="connsiteY0" fmla="*/ 0 h 6858000"/>
              <a:gd name="connsiteX1" fmla="*/ 5034036 w 5034036"/>
              <a:gd name="connsiteY1" fmla="*/ 0 h 6858000"/>
              <a:gd name="connsiteX2" fmla="*/ 5034036 w 5034036"/>
              <a:gd name="connsiteY2" fmla="*/ 6858000 h 6858000"/>
              <a:gd name="connsiteX3" fmla="*/ 1348431 w 5034036"/>
              <a:gd name="connsiteY3" fmla="*/ 6858000 h 6858000"/>
              <a:gd name="connsiteX4" fmla="*/ 0 w 5034036"/>
              <a:gd name="connsiteY4" fmla="*/ 3429000 h 6858000"/>
              <a:gd name="connsiteX5" fmla="*/ 1348431 w 503403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4036" h="6858000">
                <a:moveTo>
                  <a:pt x="1348431" y="0"/>
                </a:moveTo>
                <a:lnTo>
                  <a:pt x="5034036" y="0"/>
                </a:lnTo>
                <a:lnTo>
                  <a:pt x="5034036" y="6858000"/>
                </a:lnTo>
                <a:lnTo>
                  <a:pt x="1348431" y="6858000"/>
                </a:lnTo>
                <a:cubicBezTo>
                  <a:pt x="511782" y="5959145"/>
                  <a:pt x="0" y="4753838"/>
                  <a:pt x="0" y="3429000"/>
                </a:cubicBezTo>
                <a:cubicBezTo>
                  <a:pt x="0" y="2104160"/>
                  <a:pt x="511782" y="898857"/>
                  <a:pt x="1348431" y="0"/>
                </a:cubicBezTo>
                <a:close/>
              </a:path>
            </a:pathLst>
          </a:custGeom>
        </p:spPr>
        <p:txBody>
          <a:bodyPr wrap="square" lIns="1656000">
            <a:noAutofit/>
          </a:bodyPr>
          <a:lstStyle>
            <a:lvl1pPr marL="0" indent="0" algn="ctr">
              <a:buNone/>
              <a:defRPr sz="1230">
                <a:solidFill>
                  <a:schemeClr val="bg1">
                    <a:lumMod val="8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pic>
        <p:nvPicPr>
          <p:cNvPr id="12" name="Symbol">
            <a:extLst>
              <a:ext uri="{FF2B5EF4-FFF2-40B4-BE49-F238E27FC236}">
                <a16:creationId xmlns:a16="http://schemas.microsoft.com/office/drawing/2014/main" id="{3E54F702-BE1D-A76C-D7E3-7EE89994D2F1}"/>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482639" y="6298141"/>
            <a:ext cx="308516" cy="343036"/>
          </a:xfrm>
          <a:prstGeom prst="rect">
            <a:avLst/>
          </a:prstGeom>
        </p:spPr>
      </p:pic>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p:txBody>
          <a:bodyPr/>
          <a:lstStyle>
            <a:lvl1pPr>
              <a:defRPr>
                <a:solidFill>
                  <a:schemeClr val="bg1"/>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p:txBody>
          <a:bodyPr/>
          <a:lstStyle>
            <a:lvl1pPr>
              <a:defRPr>
                <a:solidFill>
                  <a:schemeClr val="bg1"/>
                </a:solid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p:txBody>
          <a:bodyPr/>
          <a:lstStyle>
            <a:lvl1pPr>
              <a:defRPr>
                <a:solidFill>
                  <a:schemeClr val="bg1"/>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20937756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teldeler C">
    <p:bg>
      <p:bgPr>
        <a:solidFill>
          <a:schemeClr val="accent1"/>
        </a:solidFill>
        <a:effectLst/>
      </p:bgPr>
    </p:b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FCBEB32C-8211-2F5E-F237-7E8E619ACAF0}"/>
              </a:ext>
            </a:extLst>
          </p:cNvPr>
          <p:cNvSpPr>
            <a:spLocks noGrp="1"/>
          </p:cNvSpPr>
          <p:nvPr>
            <p:ph type="ctrTitle"/>
          </p:nvPr>
        </p:nvSpPr>
        <p:spPr>
          <a:xfrm>
            <a:off x="528638" y="860425"/>
            <a:ext cx="7886776" cy="721736"/>
          </a:xfrm>
        </p:spPr>
        <p:txBody>
          <a:bodyPr anchor="t" anchorCtr="0">
            <a:spAutoFit/>
          </a:bodyPr>
          <a:lstStyle>
            <a:lvl1pPr algn="l">
              <a:lnSpc>
                <a:spcPct val="100000"/>
              </a:lnSpc>
              <a:defRPr sz="4690">
                <a:solidFill>
                  <a:schemeClr val="bg1"/>
                </a:solidFill>
              </a:defRPr>
            </a:lvl1pPr>
          </a:lstStyle>
          <a:p>
            <a:endParaRPr lang="nb-NO"/>
          </a:p>
        </p:txBody>
      </p:sp>
      <p:sp>
        <p:nvSpPr>
          <p:cNvPr id="8" name="Undertittel 2">
            <a:extLst>
              <a:ext uri="{FF2B5EF4-FFF2-40B4-BE49-F238E27FC236}">
                <a16:creationId xmlns:a16="http://schemas.microsoft.com/office/drawing/2014/main" id="{7836134F-10BC-5E04-A410-BFBE2025F51F}"/>
              </a:ext>
            </a:extLst>
          </p:cNvPr>
          <p:cNvSpPr>
            <a:spLocks noGrp="1"/>
          </p:cNvSpPr>
          <p:nvPr>
            <p:ph type="subTitle" idx="1"/>
          </p:nvPr>
        </p:nvSpPr>
        <p:spPr>
          <a:xfrm>
            <a:off x="528638" y="1730331"/>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10" name="Plassholder for bilde 9">
            <a:extLst>
              <a:ext uri="{FF2B5EF4-FFF2-40B4-BE49-F238E27FC236}">
                <a16:creationId xmlns:a16="http://schemas.microsoft.com/office/drawing/2014/main" id="{7D0C908B-F04B-B713-88AA-35A784015208}"/>
              </a:ext>
            </a:extLst>
          </p:cNvPr>
          <p:cNvSpPr>
            <a:spLocks noGrp="1"/>
          </p:cNvSpPr>
          <p:nvPr>
            <p:ph type="pic" sz="quarter" idx="15" hasCustomPrompt="1"/>
          </p:nvPr>
        </p:nvSpPr>
        <p:spPr>
          <a:xfrm>
            <a:off x="0" y="2618317"/>
            <a:ext cx="12192000" cy="4239684"/>
          </a:xfrm>
        </p:spPr>
        <p:txBody>
          <a:bodyPr/>
          <a:lstStyle>
            <a:lvl1pPr marL="0" indent="0" algn="ctr">
              <a:buNone/>
              <a:defRPr sz="1230">
                <a:solidFill>
                  <a:schemeClr val="bg1">
                    <a:lumMod val="8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4" name="Grafisk element i plassholder">
            <a:extLst>
              <a:ext uri="{FF2B5EF4-FFF2-40B4-BE49-F238E27FC236}">
                <a16:creationId xmlns:a16="http://schemas.microsoft.com/office/drawing/2014/main" id="{5DE6E5C0-C5B9-EC2D-BD3B-BEDFEE95AEC5}"/>
              </a:ext>
            </a:extLst>
          </p:cNvPr>
          <p:cNvSpPr>
            <a:spLocks noGrp="1"/>
          </p:cNvSpPr>
          <p:nvPr>
            <p:ph type="body" sz="quarter" idx="16"/>
          </p:nvPr>
        </p:nvSpPr>
        <p:spPr>
          <a:xfrm>
            <a:off x="9128125" y="-2"/>
            <a:ext cx="3063875" cy="5659083"/>
          </a:xfrm>
          <a:blipFill>
            <a:blip>
              <a:extLst>
                <a:ext uri="{96DAC541-7B7A-43D3-8B79-37D633B846F1}">
                  <asvg:svgBlip xmlns:asvg="http://schemas.microsoft.com/office/drawing/2016/SVG/main" r:embed="rId2"/>
                </a:ext>
              </a:extLst>
            </a:blip>
            <a:stretch>
              <a:fillRect t="-7241"/>
            </a:stretch>
          </a:blipFill>
        </p:spPr>
        <p:txBody>
          <a:bodyPr/>
          <a:lstStyle>
            <a:lvl1pPr marL="0" indent="0">
              <a:buNone/>
              <a:defRPr>
                <a:noFill/>
              </a:defRPr>
            </a:lvl1pPr>
          </a:lstStyle>
          <a:p>
            <a:pPr lvl="0"/>
            <a:endParaRPr lang="nb-NO"/>
          </a:p>
        </p:txBody>
      </p:sp>
      <p:sp>
        <p:nvSpPr>
          <p:cNvPr id="15" name="Symbol i plassholder">
            <a:extLst>
              <a:ext uri="{FF2B5EF4-FFF2-40B4-BE49-F238E27FC236}">
                <a16:creationId xmlns:a16="http://schemas.microsoft.com/office/drawing/2014/main" id="{45C691AF-0969-BAFD-E5AE-000413822EE3}"/>
              </a:ext>
              <a:ext uri="{C183D7F6-B498-43B3-948B-1728B52AA6E4}">
                <adec:decorative xmlns:adec="http://schemas.microsoft.com/office/drawing/2017/decorative" val="1"/>
              </a:ext>
            </a:extLst>
          </p:cNvPr>
          <p:cNvSpPr>
            <a:spLocks noGrp="1"/>
          </p:cNvSpPr>
          <p:nvPr>
            <p:ph type="body" sz="quarter" idx="17"/>
          </p:nvPr>
        </p:nvSpPr>
        <p:spPr>
          <a:xfrm>
            <a:off x="482639" y="6298141"/>
            <a:ext cx="308517" cy="343036"/>
          </a:xfrm>
          <a:blipFill>
            <a:blip>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nb-NO"/>
          </a:p>
        </p:txBody>
      </p:sp>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p:txBody>
          <a:bodyPr/>
          <a:lstStyle>
            <a:lvl1pPr>
              <a:defRPr>
                <a:solidFill>
                  <a:schemeClr val="bg1"/>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p:txBody>
          <a:bodyPr/>
          <a:lstStyle>
            <a:lvl1pPr>
              <a:defRPr>
                <a:solidFill>
                  <a:schemeClr val="bg1"/>
                </a:solid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p:txBody>
          <a:bodyPr/>
          <a:lstStyle>
            <a:lvl1pPr>
              <a:defRPr>
                <a:solidFill>
                  <a:schemeClr val="bg1"/>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32463655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teldeler D">
    <p:bg>
      <p:bgPr>
        <a:solidFill>
          <a:schemeClr val="bg1"/>
        </a:solidFill>
        <a:effectLst/>
      </p:bgPr>
    </p:bg>
    <p:spTree>
      <p:nvGrpSpPr>
        <p:cNvPr id="1" name=""/>
        <p:cNvGrpSpPr/>
        <p:nvPr/>
      </p:nvGrpSpPr>
      <p:grpSpPr>
        <a:xfrm>
          <a:off x="0" y="0"/>
          <a:ext cx="0" cy="0"/>
          <a:chOff x="0" y="0"/>
          <a:chExt cx="0" cy="0"/>
        </a:xfrm>
      </p:grpSpPr>
      <p:pic>
        <p:nvPicPr>
          <p:cNvPr id="11" name="Bakgrunn">
            <a:extLst>
              <a:ext uri="{FF2B5EF4-FFF2-40B4-BE49-F238E27FC236}">
                <a16:creationId xmlns:a16="http://schemas.microsoft.com/office/drawing/2014/main" id="{05694561-C714-5F76-1C8F-7BC37D0F5151}"/>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92000" cy="6858000"/>
          </a:xfrm>
          <a:prstGeom prst="rect">
            <a:avLst/>
          </a:prstGeom>
        </p:spPr>
      </p:pic>
      <p:sp>
        <p:nvSpPr>
          <p:cNvPr id="7" name="Tittel 1">
            <a:extLst>
              <a:ext uri="{FF2B5EF4-FFF2-40B4-BE49-F238E27FC236}">
                <a16:creationId xmlns:a16="http://schemas.microsoft.com/office/drawing/2014/main" id="{FCBEB32C-8211-2F5E-F237-7E8E619ACAF0}"/>
              </a:ext>
            </a:extLst>
          </p:cNvPr>
          <p:cNvSpPr>
            <a:spLocks noGrp="1"/>
          </p:cNvSpPr>
          <p:nvPr>
            <p:ph type="ctrTitle"/>
          </p:nvPr>
        </p:nvSpPr>
        <p:spPr>
          <a:xfrm>
            <a:off x="528638" y="178117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8" name="Undertittel 2">
            <a:extLst>
              <a:ext uri="{FF2B5EF4-FFF2-40B4-BE49-F238E27FC236}">
                <a16:creationId xmlns:a16="http://schemas.microsoft.com/office/drawing/2014/main" id="{7836134F-10BC-5E04-A410-BFBE2025F51F}"/>
              </a:ext>
            </a:extLst>
          </p:cNvPr>
          <p:cNvSpPr>
            <a:spLocks noGrp="1"/>
          </p:cNvSpPr>
          <p:nvPr>
            <p:ph type="subTitle" idx="1"/>
          </p:nvPr>
        </p:nvSpPr>
        <p:spPr>
          <a:xfrm>
            <a:off x="528638" y="410526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pic>
        <p:nvPicPr>
          <p:cNvPr id="9" name="Symbol">
            <a:extLst>
              <a:ext uri="{FF2B5EF4-FFF2-40B4-BE49-F238E27FC236}">
                <a16:creationId xmlns:a16="http://schemas.microsoft.com/office/drawing/2014/main" id="{F610EFB5-1A40-2ECC-C0D4-F148B3F45201}"/>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482639" y="6298141"/>
            <a:ext cx="308516" cy="343036"/>
          </a:xfrm>
          <a:prstGeom prst="rect">
            <a:avLst/>
          </a:prstGeom>
        </p:spPr>
      </p:pic>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p:txBody>
          <a:bodyPr/>
          <a:lstStyle>
            <a:lvl1pPr>
              <a:defRPr>
                <a:solidFill>
                  <a:schemeClr val="bg1"/>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p:txBody>
          <a:bodyPr/>
          <a:lstStyle>
            <a:lvl1pPr>
              <a:defRPr>
                <a:solidFill>
                  <a:schemeClr val="bg1"/>
                </a:solid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p:txBody>
          <a:bodyPr/>
          <a:lstStyle>
            <a:lvl1pPr>
              <a:defRPr>
                <a:solidFill>
                  <a:schemeClr val="bg1"/>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17930612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apitteldeler E">
    <p:bg>
      <p:bgPr>
        <a:solidFill>
          <a:schemeClr val="bg1"/>
        </a:solidFill>
        <a:effectLst/>
      </p:bgPr>
    </p:b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FCBEB32C-8211-2F5E-F237-7E8E619ACAF0}"/>
              </a:ext>
            </a:extLst>
          </p:cNvPr>
          <p:cNvSpPr>
            <a:spLocks noGrp="1"/>
          </p:cNvSpPr>
          <p:nvPr>
            <p:ph type="ctrTitle"/>
          </p:nvPr>
        </p:nvSpPr>
        <p:spPr>
          <a:xfrm>
            <a:off x="528638" y="1781175"/>
            <a:ext cx="636587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8" name="Undertittel 2">
            <a:extLst>
              <a:ext uri="{FF2B5EF4-FFF2-40B4-BE49-F238E27FC236}">
                <a16:creationId xmlns:a16="http://schemas.microsoft.com/office/drawing/2014/main" id="{7836134F-10BC-5E04-A410-BFBE2025F51F}"/>
              </a:ext>
            </a:extLst>
          </p:cNvPr>
          <p:cNvSpPr>
            <a:spLocks noGrp="1"/>
          </p:cNvSpPr>
          <p:nvPr>
            <p:ph type="subTitle" idx="1"/>
          </p:nvPr>
        </p:nvSpPr>
        <p:spPr>
          <a:xfrm>
            <a:off x="528638" y="410526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9" name="Plassholder for bilde 8">
            <a:extLst>
              <a:ext uri="{FF2B5EF4-FFF2-40B4-BE49-F238E27FC236}">
                <a16:creationId xmlns:a16="http://schemas.microsoft.com/office/drawing/2014/main" id="{B9195C9A-F68E-01C7-127B-146369F08265}"/>
              </a:ext>
            </a:extLst>
          </p:cNvPr>
          <p:cNvSpPr>
            <a:spLocks noGrp="1"/>
          </p:cNvSpPr>
          <p:nvPr>
            <p:ph type="pic" sz="quarter" idx="15" hasCustomPrompt="1"/>
          </p:nvPr>
        </p:nvSpPr>
        <p:spPr>
          <a:xfrm>
            <a:off x="7157965" y="0"/>
            <a:ext cx="5034036" cy="6858000"/>
          </a:xfrm>
          <a:custGeom>
            <a:avLst/>
            <a:gdLst>
              <a:gd name="connsiteX0" fmla="*/ 1348431 w 5034036"/>
              <a:gd name="connsiteY0" fmla="*/ 0 h 6858000"/>
              <a:gd name="connsiteX1" fmla="*/ 5034036 w 5034036"/>
              <a:gd name="connsiteY1" fmla="*/ 0 h 6858000"/>
              <a:gd name="connsiteX2" fmla="*/ 5034036 w 5034036"/>
              <a:gd name="connsiteY2" fmla="*/ 6858000 h 6858000"/>
              <a:gd name="connsiteX3" fmla="*/ 1348431 w 5034036"/>
              <a:gd name="connsiteY3" fmla="*/ 6858000 h 6858000"/>
              <a:gd name="connsiteX4" fmla="*/ 0 w 5034036"/>
              <a:gd name="connsiteY4" fmla="*/ 3429000 h 6858000"/>
              <a:gd name="connsiteX5" fmla="*/ 1348431 w 503403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4036" h="6858000">
                <a:moveTo>
                  <a:pt x="1348431" y="0"/>
                </a:moveTo>
                <a:lnTo>
                  <a:pt x="5034036" y="0"/>
                </a:lnTo>
                <a:lnTo>
                  <a:pt x="5034036" y="6858000"/>
                </a:lnTo>
                <a:lnTo>
                  <a:pt x="1348431" y="6858000"/>
                </a:lnTo>
                <a:cubicBezTo>
                  <a:pt x="511782" y="5959145"/>
                  <a:pt x="0" y="4753838"/>
                  <a:pt x="0" y="3429000"/>
                </a:cubicBezTo>
                <a:cubicBezTo>
                  <a:pt x="0" y="2104160"/>
                  <a:pt x="511782" y="898857"/>
                  <a:pt x="1348431" y="0"/>
                </a:cubicBezTo>
                <a:close/>
              </a:path>
            </a:pathLst>
          </a:custGeom>
        </p:spPr>
        <p:txBody>
          <a:bodyPr wrap="square" lIns="1656000">
            <a:noAutofit/>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a:p>
            <a:endParaRPr lang="nb-NO"/>
          </a:p>
        </p:txBody>
      </p:sp>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p:txBody>
          <a:bodyPr/>
          <a:lstStyle>
            <a:lvl1pPr>
              <a:defRPr>
                <a:solidFill>
                  <a:schemeClr val="accent1"/>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p:txBody>
          <a:bodyPr/>
          <a:lstStyle>
            <a:lvl1pPr>
              <a:defRPr>
                <a:solidFill>
                  <a:schemeClr val="accent1"/>
                </a:solid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p:txBody>
          <a:bodyPr/>
          <a:lstStyle>
            <a:lvl1pPr>
              <a:defRPr>
                <a:solidFill>
                  <a:schemeClr val="accent1"/>
                </a:solidFill>
              </a:defRPr>
            </a:lvl1pPr>
          </a:lstStyle>
          <a:p>
            <a:fld id="{BE2ACD00-28B2-4D17-A930-2C9F8441C7CA}" type="slidenum">
              <a:rPr lang="nb-NO" smtClean="0"/>
              <a:pPr/>
              <a:t>‹#›</a:t>
            </a:fld>
            <a:endParaRPr lang="nb-NO"/>
          </a:p>
        </p:txBody>
      </p:sp>
      <p:pic>
        <p:nvPicPr>
          <p:cNvPr id="2" name="Symbol">
            <a:extLst>
              <a:ext uri="{FF2B5EF4-FFF2-40B4-BE49-F238E27FC236}">
                <a16:creationId xmlns:a16="http://schemas.microsoft.com/office/drawing/2014/main" id="{D6211094-A57D-ECB7-C312-5D3EE4584D2A}"/>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482639" y="6298141"/>
            <a:ext cx="308516" cy="343036"/>
          </a:xfrm>
          <a:prstGeom prst="rect">
            <a:avLst/>
          </a:prstGeom>
        </p:spPr>
      </p:pic>
    </p:spTree>
    <p:extLst>
      <p:ext uri="{BB962C8B-B14F-4D97-AF65-F5344CB8AC3E}">
        <p14:creationId xmlns:p14="http://schemas.microsoft.com/office/powerpoint/2010/main" val="38881923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apitteldeler F">
    <p:bg>
      <p:bgPr>
        <a:solidFill>
          <a:schemeClr val="bg1"/>
        </a:solidFill>
        <a:effectLst/>
      </p:bgPr>
    </p:b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FCBEB32C-8211-2F5E-F237-7E8E619ACAF0}"/>
              </a:ext>
            </a:extLst>
          </p:cNvPr>
          <p:cNvSpPr>
            <a:spLocks noGrp="1"/>
          </p:cNvSpPr>
          <p:nvPr>
            <p:ph type="ctrTitle"/>
          </p:nvPr>
        </p:nvSpPr>
        <p:spPr>
          <a:xfrm>
            <a:off x="528638" y="860425"/>
            <a:ext cx="7886776" cy="721736"/>
          </a:xfrm>
        </p:spPr>
        <p:txBody>
          <a:bodyPr anchor="t" anchorCtr="0">
            <a:spAutoFit/>
          </a:bodyPr>
          <a:lstStyle>
            <a:lvl1pPr algn="l">
              <a:lnSpc>
                <a:spcPct val="100000"/>
              </a:lnSpc>
              <a:defRPr sz="4690">
                <a:solidFill>
                  <a:schemeClr val="accent1"/>
                </a:solidFill>
              </a:defRPr>
            </a:lvl1pPr>
          </a:lstStyle>
          <a:p>
            <a:endParaRPr lang="nb-NO"/>
          </a:p>
        </p:txBody>
      </p:sp>
      <p:sp>
        <p:nvSpPr>
          <p:cNvPr id="8" name="Undertittel 2">
            <a:extLst>
              <a:ext uri="{FF2B5EF4-FFF2-40B4-BE49-F238E27FC236}">
                <a16:creationId xmlns:a16="http://schemas.microsoft.com/office/drawing/2014/main" id="{7836134F-10BC-5E04-A410-BFBE2025F51F}"/>
              </a:ext>
            </a:extLst>
          </p:cNvPr>
          <p:cNvSpPr>
            <a:spLocks noGrp="1"/>
          </p:cNvSpPr>
          <p:nvPr>
            <p:ph type="subTitle" idx="1"/>
          </p:nvPr>
        </p:nvSpPr>
        <p:spPr>
          <a:xfrm>
            <a:off x="528638" y="1730331"/>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10" name="Plassholder for bilde 9">
            <a:extLst>
              <a:ext uri="{FF2B5EF4-FFF2-40B4-BE49-F238E27FC236}">
                <a16:creationId xmlns:a16="http://schemas.microsoft.com/office/drawing/2014/main" id="{7D0C908B-F04B-B713-88AA-35A784015208}"/>
              </a:ext>
            </a:extLst>
          </p:cNvPr>
          <p:cNvSpPr>
            <a:spLocks noGrp="1"/>
          </p:cNvSpPr>
          <p:nvPr>
            <p:ph type="pic" sz="quarter" idx="15" hasCustomPrompt="1"/>
          </p:nvPr>
        </p:nvSpPr>
        <p:spPr>
          <a:xfrm>
            <a:off x="0" y="2618317"/>
            <a:ext cx="12192000" cy="4239684"/>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4" name="Grafisk element i plassholder">
            <a:extLst>
              <a:ext uri="{FF2B5EF4-FFF2-40B4-BE49-F238E27FC236}">
                <a16:creationId xmlns:a16="http://schemas.microsoft.com/office/drawing/2014/main" id="{5DE6E5C0-C5B9-EC2D-BD3B-BEDFEE95AEC5}"/>
              </a:ext>
            </a:extLst>
          </p:cNvPr>
          <p:cNvSpPr>
            <a:spLocks noGrp="1"/>
          </p:cNvSpPr>
          <p:nvPr>
            <p:ph type="body" sz="quarter" idx="16"/>
          </p:nvPr>
        </p:nvSpPr>
        <p:spPr>
          <a:xfrm>
            <a:off x="9128125" y="-2"/>
            <a:ext cx="3063875" cy="5659083"/>
          </a:xfrm>
          <a:blipFill>
            <a:blip>
              <a:extLst>
                <a:ext uri="{96DAC541-7B7A-43D3-8B79-37D633B846F1}">
                  <asvg:svgBlip xmlns:asvg="http://schemas.microsoft.com/office/drawing/2016/SVG/main" r:embed="rId2"/>
                </a:ext>
              </a:extLst>
            </a:blip>
            <a:stretch>
              <a:fillRect t="-7241"/>
            </a:stretch>
          </a:blipFill>
        </p:spPr>
        <p:txBody>
          <a:bodyPr/>
          <a:lstStyle>
            <a:lvl1pPr marL="0" indent="0">
              <a:buNone/>
              <a:defRPr>
                <a:noFill/>
              </a:defRPr>
            </a:lvl1pPr>
          </a:lstStyle>
          <a:p>
            <a:pPr lvl="0"/>
            <a:endParaRPr lang="nb-NO"/>
          </a:p>
        </p:txBody>
      </p:sp>
      <p:sp>
        <p:nvSpPr>
          <p:cNvPr id="15" name="Symbol i plassholder">
            <a:extLst>
              <a:ext uri="{FF2B5EF4-FFF2-40B4-BE49-F238E27FC236}">
                <a16:creationId xmlns:a16="http://schemas.microsoft.com/office/drawing/2014/main" id="{45C691AF-0969-BAFD-E5AE-000413822EE3}"/>
              </a:ext>
              <a:ext uri="{C183D7F6-B498-43B3-948B-1728B52AA6E4}">
                <adec:decorative xmlns:adec="http://schemas.microsoft.com/office/drawing/2017/decorative" val="1"/>
              </a:ext>
            </a:extLst>
          </p:cNvPr>
          <p:cNvSpPr>
            <a:spLocks noGrp="1"/>
          </p:cNvSpPr>
          <p:nvPr>
            <p:ph type="body" sz="quarter" idx="17"/>
          </p:nvPr>
        </p:nvSpPr>
        <p:spPr>
          <a:xfrm>
            <a:off x="482639" y="6298141"/>
            <a:ext cx="308517" cy="343036"/>
          </a:xfrm>
          <a:blipFill>
            <a:blip>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nb-NO"/>
          </a:p>
        </p:txBody>
      </p:sp>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p:txBody>
          <a:bodyPr/>
          <a:lstStyle>
            <a:lvl1pPr>
              <a:defRPr>
                <a:solidFill>
                  <a:schemeClr val="accent1"/>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p:txBody>
          <a:bodyPr/>
          <a:lstStyle>
            <a:lvl1pPr>
              <a:defRPr>
                <a:solidFill>
                  <a:schemeClr val="accent1"/>
                </a:solid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p:txBody>
          <a:bodyPr/>
          <a:lstStyle>
            <a:lvl1pPr>
              <a:defRPr>
                <a:solidFill>
                  <a:schemeClr val="accent1"/>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1872760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ore punkt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lvl1pPr marL="434975" indent="-434975">
              <a:spcBef>
                <a:spcPts val="3600"/>
              </a:spcBef>
              <a:buFont typeface="Avenir Next LT Pro" panose="020B0504020202020204" pitchFamily="34" charset="0"/>
              <a:buChar char="•"/>
              <a:defRPr sz="3000"/>
            </a:lvl1pPr>
            <a:lvl2pPr marL="965200" indent="-434975">
              <a:defRPr sz="3000"/>
            </a:lvl2pPr>
            <a:lvl3pPr>
              <a:defRPr sz="2400"/>
            </a:lvl3pPr>
            <a:lvl4pPr>
              <a:defRPr sz="3000"/>
            </a:lvl4pPr>
            <a:lvl5pPr>
              <a:defRPr sz="2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0624992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orside A">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7001823"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bg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pic>
        <p:nvPicPr>
          <p:cNvPr id="14" name="Grafisk element">
            <a:extLst>
              <a:ext uri="{FF2B5EF4-FFF2-40B4-BE49-F238E27FC236}">
                <a16:creationId xmlns:a16="http://schemas.microsoft.com/office/drawing/2014/main" id="{E7DA99B6-0C96-681A-A63F-E33B8818D12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128125" y="394585"/>
            <a:ext cx="3063875" cy="6068829"/>
          </a:xfrm>
          <a:prstGeom prst="rect">
            <a:avLst/>
          </a:prstGeom>
        </p:spPr>
      </p:pic>
    </p:spTree>
    <p:extLst>
      <p:ext uri="{BB962C8B-B14F-4D97-AF65-F5344CB8AC3E}">
        <p14:creationId xmlns:p14="http://schemas.microsoft.com/office/powerpoint/2010/main" val="4010448857"/>
      </p:ext>
    </p:extLst>
  </p:cSld>
  <p:clrMapOvr>
    <a:masterClrMapping/>
  </p:clrMapOvr>
  <p:extLst>
    <p:ext uri="{DCECCB84-F9BA-43D5-87BE-67443E8EF086}">
      <p15:sldGuideLst xmlns:p15="http://schemas.microsoft.com/office/powerpoint/2012/main">
        <p15:guide id="3" orient="horz" pos="216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orside B">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bg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pic>
        <p:nvPicPr>
          <p:cNvPr id="11" name="Grafikk 10">
            <a:extLst>
              <a:ext uri="{FF2B5EF4-FFF2-40B4-BE49-F238E27FC236}">
                <a16:creationId xmlns:a16="http://schemas.microsoft.com/office/drawing/2014/main" id="{34942D5E-76E0-DE10-15CD-77DF4659DFC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7185660" y="638097"/>
            <a:ext cx="5006340" cy="5568410"/>
          </a:xfrm>
          <a:prstGeom prst="rect">
            <a:avLst/>
          </a:prstGeom>
        </p:spPr>
      </p:pic>
    </p:spTree>
    <p:extLst>
      <p:ext uri="{BB962C8B-B14F-4D97-AF65-F5344CB8AC3E}">
        <p14:creationId xmlns:p14="http://schemas.microsoft.com/office/powerpoint/2010/main" val="3316863418"/>
      </p:ext>
    </p:extLst>
  </p:cSld>
  <p:clrMapOvr>
    <a:masterClrMapping/>
  </p:clrMapOvr>
  <p:extLst>
    <p:ext uri="{DCECCB84-F9BA-43D5-87BE-67443E8EF086}">
      <p15:sldGuideLst xmlns:p15="http://schemas.microsoft.com/office/powerpoint/2012/main">
        <p15:guide id="3" orient="horz" pos="216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orside C">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bg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sp>
        <p:nvSpPr>
          <p:cNvPr id="16" name="Plassholder for bilde 15">
            <a:extLst>
              <a:ext uri="{FF2B5EF4-FFF2-40B4-BE49-F238E27FC236}">
                <a16:creationId xmlns:a16="http://schemas.microsoft.com/office/drawing/2014/main" id="{5E6BD0A8-0073-11FF-5CF8-7C6A99E909DA}"/>
              </a:ext>
            </a:extLst>
          </p:cNvPr>
          <p:cNvSpPr>
            <a:spLocks noGrp="1"/>
          </p:cNvSpPr>
          <p:nvPr>
            <p:ph type="pic" sz="quarter" idx="15" hasCustomPrompt="1"/>
          </p:nvPr>
        </p:nvSpPr>
        <p:spPr>
          <a:xfrm>
            <a:off x="7157965" y="0"/>
            <a:ext cx="5034036" cy="6858000"/>
          </a:xfrm>
          <a:custGeom>
            <a:avLst/>
            <a:gdLst>
              <a:gd name="connsiteX0" fmla="*/ 1348431 w 5034036"/>
              <a:gd name="connsiteY0" fmla="*/ 0 h 6858000"/>
              <a:gd name="connsiteX1" fmla="*/ 5034036 w 5034036"/>
              <a:gd name="connsiteY1" fmla="*/ 0 h 6858000"/>
              <a:gd name="connsiteX2" fmla="*/ 5034036 w 5034036"/>
              <a:gd name="connsiteY2" fmla="*/ 6858000 h 6858000"/>
              <a:gd name="connsiteX3" fmla="*/ 1348431 w 5034036"/>
              <a:gd name="connsiteY3" fmla="*/ 6858000 h 6858000"/>
              <a:gd name="connsiteX4" fmla="*/ 0 w 5034036"/>
              <a:gd name="connsiteY4" fmla="*/ 3429000 h 6858000"/>
              <a:gd name="connsiteX5" fmla="*/ 1348431 w 503403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4036" h="6858000">
                <a:moveTo>
                  <a:pt x="1348431" y="0"/>
                </a:moveTo>
                <a:lnTo>
                  <a:pt x="5034036" y="0"/>
                </a:lnTo>
                <a:lnTo>
                  <a:pt x="5034036" y="6858000"/>
                </a:lnTo>
                <a:lnTo>
                  <a:pt x="1348431" y="6858000"/>
                </a:lnTo>
                <a:cubicBezTo>
                  <a:pt x="511782" y="5959145"/>
                  <a:pt x="0" y="4753838"/>
                  <a:pt x="0" y="3429000"/>
                </a:cubicBezTo>
                <a:cubicBezTo>
                  <a:pt x="0" y="2104160"/>
                  <a:pt x="511782" y="898857"/>
                  <a:pt x="1348431" y="0"/>
                </a:cubicBezTo>
                <a:close/>
              </a:path>
            </a:pathLst>
          </a:custGeom>
        </p:spPr>
        <p:txBody>
          <a:bodyPr wrap="square" lIns="1656000">
            <a:noAutofit/>
          </a:bodyPr>
          <a:lstStyle>
            <a:lvl1pPr marL="0" indent="0" algn="ctr">
              <a:buNone/>
              <a:defRPr sz="1230">
                <a:solidFill>
                  <a:schemeClr val="bg1">
                    <a:lumMod val="8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371623649"/>
      </p:ext>
    </p:extLst>
  </p:cSld>
  <p:clrMapOvr>
    <a:masterClrMapping/>
  </p:clrMapOvr>
  <p:extLst>
    <p:ext uri="{DCECCB84-F9BA-43D5-87BE-67443E8EF086}">
      <p15:sldGuideLst xmlns:p15="http://schemas.microsoft.com/office/powerpoint/2012/main">
        <p15:guide id="3" orient="horz" pos="216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rside D">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accent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508002" y="632489"/>
            <a:ext cx="1904996" cy="499790"/>
          </a:xfrm>
          <a:prstGeom prst="rect">
            <a:avLst/>
          </a:prstGeom>
        </p:spPr>
      </p:pic>
      <p:pic>
        <p:nvPicPr>
          <p:cNvPr id="7" name="Grafisk element">
            <a:extLst>
              <a:ext uri="{FF2B5EF4-FFF2-40B4-BE49-F238E27FC236}">
                <a16:creationId xmlns:a16="http://schemas.microsoft.com/office/drawing/2014/main" id="{BE33651C-4F2A-CD16-74D1-2EA2A1928603}"/>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9128125" y="394585"/>
            <a:ext cx="3063874" cy="6068829"/>
          </a:xfrm>
          <a:prstGeom prst="rect">
            <a:avLst/>
          </a:prstGeom>
        </p:spPr>
      </p:pic>
    </p:spTree>
    <p:extLst>
      <p:ext uri="{BB962C8B-B14F-4D97-AF65-F5344CB8AC3E}">
        <p14:creationId xmlns:p14="http://schemas.microsoft.com/office/powerpoint/2010/main" val="1072777112"/>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orside E">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accent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508002" y="632489"/>
            <a:ext cx="1904996" cy="499790"/>
          </a:xfrm>
          <a:prstGeom prst="rect">
            <a:avLst/>
          </a:prstGeom>
        </p:spPr>
      </p:pic>
      <p:pic>
        <p:nvPicPr>
          <p:cNvPr id="11" name="Grafikk 10">
            <a:extLst>
              <a:ext uri="{FF2B5EF4-FFF2-40B4-BE49-F238E27FC236}">
                <a16:creationId xmlns:a16="http://schemas.microsoft.com/office/drawing/2014/main" id="{34942D5E-76E0-DE10-15CD-77DF4659DFC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7185660" y="644633"/>
            <a:ext cx="5006340" cy="5555338"/>
          </a:xfrm>
          <a:prstGeom prst="rect">
            <a:avLst/>
          </a:prstGeom>
        </p:spPr>
      </p:pic>
    </p:spTree>
    <p:extLst>
      <p:ext uri="{BB962C8B-B14F-4D97-AF65-F5344CB8AC3E}">
        <p14:creationId xmlns:p14="http://schemas.microsoft.com/office/powerpoint/2010/main" val="436723326"/>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rside F">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accent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508002" y="632489"/>
            <a:ext cx="1904996" cy="499790"/>
          </a:xfrm>
          <a:prstGeom prst="rect">
            <a:avLst/>
          </a:prstGeom>
        </p:spPr>
      </p:pic>
      <p:sp>
        <p:nvSpPr>
          <p:cNvPr id="16" name="Plassholder for bilde 15">
            <a:extLst>
              <a:ext uri="{FF2B5EF4-FFF2-40B4-BE49-F238E27FC236}">
                <a16:creationId xmlns:a16="http://schemas.microsoft.com/office/drawing/2014/main" id="{5E6BD0A8-0073-11FF-5CF8-7C6A99E909DA}"/>
              </a:ext>
            </a:extLst>
          </p:cNvPr>
          <p:cNvSpPr>
            <a:spLocks noGrp="1"/>
          </p:cNvSpPr>
          <p:nvPr>
            <p:ph type="pic" sz="quarter" idx="15" hasCustomPrompt="1"/>
          </p:nvPr>
        </p:nvSpPr>
        <p:spPr>
          <a:xfrm>
            <a:off x="7157965" y="0"/>
            <a:ext cx="5034036" cy="6858000"/>
          </a:xfrm>
          <a:custGeom>
            <a:avLst/>
            <a:gdLst>
              <a:gd name="connsiteX0" fmla="*/ 1348431 w 5034036"/>
              <a:gd name="connsiteY0" fmla="*/ 0 h 6858000"/>
              <a:gd name="connsiteX1" fmla="*/ 5034036 w 5034036"/>
              <a:gd name="connsiteY1" fmla="*/ 0 h 6858000"/>
              <a:gd name="connsiteX2" fmla="*/ 5034036 w 5034036"/>
              <a:gd name="connsiteY2" fmla="*/ 6858000 h 6858000"/>
              <a:gd name="connsiteX3" fmla="*/ 1348431 w 5034036"/>
              <a:gd name="connsiteY3" fmla="*/ 6858000 h 6858000"/>
              <a:gd name="connsiteX4" fmla="*/ 0 w 5034036"/>
              <a:gd name="connsiteY4" fmla="*/ 3429000 h 6858000"/>
              <a:gd name="connsiteX5" fmla="*/ 1348431 w 503403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4036" h="6858000">
                <a:moveTo>
                  <a:pt x="1348431" y="0"/>
                </a:moveTo>
                <a:lnTo>
                  <a:pt x="5034036" y="0"/>
                </a:lnTo>
                <a:lnTo>
                  <a:pt x="5034036" y="6858000"/>
                </a:lnTo>
                <a:lnTo>
                  <a:pt x="1348431" y="6858000"/>
                </a:lnTo>
                <a:cubicBezTo>
                  <a:pt x="511782" y="5959145"/>
                  <a:pt x="0" y="4753838"/>
                  <a:pt x="0" y="3429000"/>
                </a:cubicBezTo>
                <a:cubicBezTo>
                  <a:pt x="0" y="2104160"/>
                  <a:pt x="511782" y="898857"/>
                  <a:pt x="1348431" y="0"/>
                </a:cubicBezTo>
                <a:close/>
              </a:path>
            </a:pathLst>
          </a:custGeom>
        </p:spPr>
        <p:txBody>
          <a:bodyPr wrap="square" lIns="1656000">
            <a:noAutofit/>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1443861661"/>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487488" y="4869659"/>
            <a:ext cx="5407025" cy="295466"/>
          </a:xfrm>
        </p:spPr>
        <p:txBody>
          <a:bodyPr>
            <a:noAutofit/>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5262659"/>
            <a:ext cx="5407025" cy="850803"/>
          </a:xfrm>
        </p:spPr>
        <p:txBody>
          <a:bodyPr anchor="t" anchorCtr="0">
            <a:noAutofit/>
          </a:bodyPr>
          <a:lstStyle>
            <a:lvl1pPr marL="0" indent="0">
              <a:spcBef>
                <a:spcPts val="0"/>
              </a:spcBef>
              <a:buNone/>
              <a:defRPr sz="1540">
                <a:solidFill>
                  <a:schemeClr val="bg1"/>
                </a:solidFill>
              </a:defRPr>
            </a:lvl1pPr>
          </a:lstStyle>
          <a:p>
            <a:pPr lvl="0"/>
            <a:r>
              <a:rPr lang="nb-NO"/>
              <a:t>Kontaktinformasjon</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pic>
        <p:nvPicPr>
          <p:cNvPr id="11" name="Grafikk 10">
            <a:extLst>
              <a:ext uri="{FF2B5EF4-FFF2-40B4-BE49-F238E27FC236}">
                <a16:creationId xmlns:a16="http://schemas.microsoft.com/office/drawing/2014/main" id="{34942D5E-76E0-DE10-15CD-77DF4659DFC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7185660" y="638097"/>
            <a:ext cx="5006340" cy="5568410"/>
          </a:xfrm>
          <a:prstGeom prst="rect">
            <a:avLst/>
          </a:prstGeom>
        </p:spPr>
      </p:pic>
    </p:spTree>
    <p:extLst>
      <p:ext uri="{BB962C8B-B14F-4D97-AF65-F5344CB8AC3E}">
        <p14:creationId xmlns:p14="http://schemas.microsoft.com/office/powerpoint/2010/main" val="978053279"/>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vslutning B">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487488" y="4869659"/>
            <a:ext cx="5407025" cy="295466"/>
          </a:xfrm>
        </p:spPr>
        <p:txBody>
          <a:bodyPr>
            <a:noAutofit/>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5262659"/>
            <a:ext cx="5407025" cy="850803"/>
          </a:xfrm>
        </p:spPr>
        <p:txBody>
          <a:bodyPr anchor="t" anchorCtr="0">
            <a:noAutofit/>
          </a:bodyPr>
          <a:lstStyle>
            <a:lvl1pPr marL="0" indent="0">
              <a:spcBef>
                <a:spcPts val="0"/>
              </a:spcBef>
              <a:buNone/>
              <a:defRPr sz="1540">
                <a:solidFill>
                  <a:schemeClr val="accent1"/>
                </a:solidFill>
              </a:defRPr>
            </a:lvl1pPr>
          </a:lstStyle>
          <a:p>
            <a:pPr lvl="0"/>
            <a:r>
              <a:rPr lang="nb-NO"/>
              <a:t>Kontaktinformasjon</a:t>
            </a:r>
          </a:p>
        </p:txBody>
      </p:sp>
      <p:pic>
        <p:nvPicPr>
          <p:cNvPr id="7" name="Grafikk 6">
            <a:extLst>
              <a:ext uri="{FF2B5EF4-FFF2-40B4-BE49-F238E27FC236}">
                <a16:creationId xmlns:a16="http://schemas.microsoft.com/office/drawing/2014/main" id="{9C92AE82-1D1A-AFB6-93B6-0BB3C89A122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7185660" y="644633"/>
            <a:ext cx="5006340" cy="5555338"/>
          </a:xfrm>
          <a:prstGeom prst="rect">
            <a:avLst/>
          </a:prstGeom>
        </p:spPr>
      </p:pic>
      <p:pic>
        <p:nvPicPr>
          <p:cNvPr id="8" name="Logo" descr="Riksrevisjonen logo">
            <a:extLst>
              <a:ext uri="{FF2B5EF4-FFF2-40B4-BE49-F238E27FC236}">
                <a16:creationId xmlns:a16="http://schemas.microsoft.com/office/drawing/2014/main" id="{C657E82C-E330-FE2B-3258-EE893A5C8B21}"/>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508002" y="632489"/>
            <a:ext cx="1904996" cy="499790"/>
          </a:xfrm>
          <a:prstGeom prst="rect">
            <a:avLst/>
          </a:prstGeom>
        </p:spPr>
      </p:pic>
    </p:spTree>
    <p:extLst>
      <p:ext uri="{BB962C8B-B14F-4D97-AF65-F5344CB8AC3E}">
        <p14:creationId xmlns:p14="http://schemas.microsoft.com/office/powerpoint/2010/main" val="1175340026"/>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ogo A">
    <p:bg>
      <p:bgPr>
        <a:solidFill>
          <a:schemeClr val="accent1"/>
        </a:solidFill>
        <a:effectLst/>
      </p:bgPr>
    </p:bg>
    <p:spTree>
      <p:nvGrpSpPr>
        <p:cNvPr id="1" name=""/>
        <p:cNvGrpSpPr/>
        <p:nvPr/>
      </p:nvGrpSpPr>
      <p:grpSpPr>
        <a:xfrm>
          <a:off x="0" y="0"/>
          <a:ext cx="0" cy="0"/>
          <a:chOff x="0" y="0"/>
          <a:chExt cx="0" cy="0"/>
        </a:xfrm>
      </p:grpSpPr>
      <p:pic>
        <p:nvPicPr>
          <p:cNvPr id="14" name="Bakgrunn">
            <a:extLst>
              <a:ext uri="{FF2B5EF4-FFF2-40B4-BE49-F238E27FC236}">
                <a16:creationId xmlns:a16="http://schemas.microsoft.com/office/drawing/2014/main" id="{997B31AB-09C7-735A-AF4C-E77E431009D3}"/>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66600" cy="6858000"/>
          </a:xfrm>
          <a:prstGeom prst="rect">
            <a:avLst/>
          </a:prstGeom>
        </p:spPr>
      </p:pic>
      <p:sp>
        <p:nvSpPr>
          <p:cNvPr id="6" name="Plassholder for dato 3">
            <a:extLst>
              <a:ext uri="{FF2B5EF4-FFF2-40B4-BE49-F238E27FC236}">
                <a16:creationId xmlns:a16="http://schemas.microsoft.com/office/drawing/2014/main" id="{7A1142C1-D000-408E-46A7-D5603F7ED417}"/>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7" name="Plassholder for bunntekst 4">
            <a:extLst>
              <a:ext uri="{FF2B5EF4-FFF2-40B4-BE49-F238E27FC236}">
                <a16:creationId xmlns:a16="http://schemas.microsoft.com/office/drawing/2014/main" id="{91ADA98E-1588-E91E-87CA-861F92966CEF}"/>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8" name="Plassholder for lysbildenummer 5">
            <a:extLst>
              <a:ext uri="{FF2B5EF4-FFF2-40B4-BE49-F238E27FC236}">
                <a16:creationId xmlns:a16="http://schemas.microsoft.com/office/drawing/2014/main" id="{76000E83-B309-961A-8EDF-BF131BADFDBB}"/>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pic>
        <p:nvPicPr>
          <p:cNvPr id="12" name="Logo" descr="Riksrevisjonen logo">
            <a:extLst>
              <a:ext uri="{FF2B5EF4-FFF2-40B4-BE49-F238E27FC236}">
                <a16:creationId xmlns:a16="http://schemas.microsoft.com/office/drawing/2014/main" id="{7508FAEA-75AE-AD43-56D0-858509CB934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82169" y="2717006"/>
            <a:ext cx="5427663" cy="1423988"/>
          </a:xfrm>
          <a:prstGeom prst="rect">
            <a:avLst/>
          </a:prstGeom>
        </p:spPr>
      </p:pic>
    </p:spTree>
    <p:extLst>
      <p:ext uri="{BB962C8B-B14F-4D97-AF65-F5344CB8AC3E}">
        <p14:creationId xmlns:p14="http://schemas.microsoft.com/office/powerpoint/2010/main" val="14734774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ogo B">
    <p:bg>
      <p:bgPr>
        <a:solidFill>
          <a:schemeClr val="bg1"/>
        </a:solidFill>
        <a:effectLst/>
      </p:bgPr>
    </p:bg>
    <p:spTree>
      <p:nvGrpSpPr>
        <p:cNvPr id="1" name=""/>
        <p:cNvGrpSpPr/>
        <p:nvPr/>
      </p:nvGrpSpPr>
      <p:grpSpPr>
        <a:xfrm>
          <a:off x="0" y="0"/>
          <a:ext cx="0" cy="0"/>
          <a:chOff x="0" y="0"/>
          <a:chExt cx="0" cy="0"/>
        </a:xfrm>
      </p:grpSpPr>
      <p:sp>
        <p:nvSpPr>
          <p:cNvPr id="6" name="Plassholder for dato 3">
            <a:extLst>
              <a:ext uri="{FF2B5EF4-FFF2-40B4-BE49-F238E27FC236}">
                <a16:creationId xmlns:a16="http://schemas.microsoft.com/office/drawing/2014/main" id="{7A1142C1-D000-408E-46A7-D5603F7ED417}"/>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7" name="Plassholder for bunntekst 4">
            <a:extLst>
              <a:ext uri="{FF2B5EF4-FFF2-40B4-BE49-F238E27FC236}">
                <a16:creationId xmlns:a16="http://schemas.microsoft.com/office/drawing/2014/main" id="{91ADA98E-1588-E91E-87CA-861F92966CEF}"/>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8" name="Plassholder for lysbildenummer 5">
            <a:extLst>
              <a:ext uri="{FF2B5EF4-FFF2-40B4-BE49-F238E27FC236}">
                <a16:creationId xmlns:a16="http://schemas.microsoft.com/office/drawing/2014/main" id="{76000E83-B309-961A-8EDF-BF131BADFDBB}"/>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pic>
        <p:nvPicPr>
          <p:cNvPr id="2" name="Logo" descr="Riksrevisjonen logo">
            <a:extLst>
              <a:ext uri="{FF2B5EF4-FFF2-40B4-BE49-F238E27FC236}">
                <a16:creationId xmlns:a16="http://schemas.microsoft.com/office/drawing/2014/main" id="{C762FE6E-84FB-D28D-5056-C3C7079EAE7C}"/>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3382170" y="2717006"/>
            <a:ext cx="5427663" cy="1423988"/>
          </a:xfrm>
          <a:prstGeom prst="rect">
            <a:avLst/>
          </a:prstGeom>
        </p:spPr>
      </p:pic>
    </p:spTree>
    <p:extLst>
      <p:ext uri="{BB962C8B-B14F-4D97-AF65-F5344CB8AC3E}">
        <p14:creationId xmlns:p14="http://schemas.microsoft.com/office/powerpoint/2010/main" val="1883977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0F6A5C6-E1C4-952D-DABF-1BB5BF893E82}"/>
              </a:ext>
            </a:extLst>
          </p:cNvPr>
          <p:cNvSpPr>
            <a:spLocks noGrp="1"/>
          </p:cNvSpPr>
          <p:nvPr>
            <p:ph type="title"/>
          </p:nvPr>
        </p:nvSpPr>
        <p:spPr/>
        <p:txBody>
          <a:bodyPr/>
          <a:lstStyle/>
          <a:p>
            <a:r>
              <a:rPr lang="nb-NO"/>
              <a:t>Klikk for å redigere tittelstil</a:t>
            </a:r>
          </a:p>
        </p:txBody>
      </p:sp>
      <p:sp>
        <p:nvSpPr>
          <p:cNvPr id="5" name="Plassholder for dato 4">
            <a:extLst>
              <a:ext uri="{FF2B5EF4-FFF2-40B4-BE49-F238E27FC236}">
                <a16:creationId xmlns:a16="http://schemas.microsoft.com/office/drawing/2014/main" id="{AF9189F2-90EA-8E91-C548-D83149ABBCEB}"/>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6" name="Plassholder for bunntekst 5">
            <a:extLst>
              <a:ext uri="{FF2B5EF4-FFF2-40B4-BE49-F238E27FC236}">
                <a16:creationId xmlns:a16="http://schemas.microsoft.com/office/drawing/2014/main" id="{260C1620-A883-B651-8150-B415FC34F17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DC0A9E3-377C-16F0-9402-9273CFB90EE4}"/>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innhold 2">
            <a:extLst>
              <a:ext uri="{FF2B5EF4-FFF2-40B4-BE49-F238E27FC236}">
                <a16:creationId xmlns:a16="http://schemas.microsoft.com/office/drawing/2014/main" id="{E957C6DE-F39A-9B71-CEB0-43167096BD53}"/>
              </a:ext>
            </a:extLst>
          </p:cNvPr>
          <p:cNvSpPr>
            <a:spLocks noGrp="1"/>
          </p:cNvSpPr>
          <p:nvPr>
            <p:ph idx="1"/>
          </p:nvPr>
        </p:nvSpPr>
        <p:spPr>
          <a:xfrm>
            <a:off x="508000"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22E42883-727C-D486-E333-4D1301749134}"/>
              </a:ext>
            </a:extLst>
          </p:cNvPr>
          <p:cNvSpPr>
            <a:spLocks noGrp="1"/>
          </p:cNvSpPr>
          <p:nvPr>
            <p:ph idx="13"/>
          </p:nvPr>
        </p:nvSpPr>
        <p:spPr>
          <a:xfrm>
            <a:off x="6256339"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450202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A71A3B-0A75-5141-FF2B-0E6F4699D95F}"/>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9AD7458-4179-E4A0-7D6D-1197DB758BC2}"/>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2276AD32-6182-A99D-08B4-5511FF0A2525}"/>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BE94A5E0-2A39-6515-2534-5CA6B8F6B39B}"/>
              </a:ext>
            </a:extLst>
          </p:cNvPr>
          <p:cNvSpPr>
            <a:spLocks noGrp="1"/>
          </p:cNvSpPr>
          <p:nvPr>
            <p:ph type="dt" sz="half" idx="10"/>
          </p:nvPr>
        </p:nvSpPr>
        <p:spPr/>
        <p:txBody>
          <a:bodyPr/>
          <a:lstStyle/>
          <a:p>
            <a:fld id="{5678A843-95A7-9E4B-A9C5-7B1971DAC7CF}" type="datetimeFigureOut">
              <a:rPr lang="nb-NO" smtClean="0"/>
              <a:t>14.03.2026</a:t>
            </a:fld>
            <a:endParaRPr lang="nb-NO"/>
          </a:p>
        </p:txBody>
      </p:sp>
      <p:sp>
        <p:nvSpPr>
          <p:cNvPr id="6" name="Plassholder for bunntekst 5">
            <a:extLst>
              <a:ext uri="{FF2B5EF4-FFF2-40B4-BE49-F238E27FC236}">
                <a16:creationId xmlns:a16="http://schemas.microsoft.com/office/drawing/2014/main" id="{9AF33D4B-462D-31FC-7E92-696B06E365A8}"/>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1D0160C5-BDAC-5C65-0E6C-78EEC34DDB66}"/>
              </a:ext>
            </a:extLst>
          </p:cNvPr>
          <p:cNvSpPr>
            <a:spLocks noGrp="1"/>
          </p:cNvSpPr>
          <p:nvPr>
            <p:ph type="sldNum" sz="quarter" idx="12"/>
          </p:nvPr>
        </p:nvSpPr>
        <p:spPr/>
        <p:txBody>
          <a:bodyPr/>
          <a:lstStyle/>
          <a:p>
            <a:fld id="{9D821E6E-3984-C54A-906E-35BD83DB6112}" type="slidenum">
              <a:rPr lang="nb-NO" smtClean="0"/>
              <a:t>‹#›</a:t>
            </a:fld>
            <a:endParaRPr lang="nb-NO"/>
          </a:p>
        </p:txBody>
      </p:sp>
    </p:spTree>
    <p:extLst>
      <p:ext uri="{BB962C8B-B14F-4D97-AF65-F5344CB8AC3E}">
        <p14:creationId xmlns:p14="http://schemas.microsoft.com/office/powerpoint/2010/main" val="3114780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nholdsside: Figur til venstr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B0569C10-46F8-7830-8599-39E0707C5AF7}"/>
              </a:ext>
            </a:extLst>
          </p:cNvPr>
          <p:cNvPicPr>
            <a:picLocks noChangeAspect="1"/>
          </p:cNvPicPr>
          <p:nvPr userDrawn="1"/>
        </p:nvPicPr>
        <p:blipFill>
          <a:blip r:embed="rId2"/>
          <a:srcRect/>
          <a:stretch/>
        </p:blipFill>
        <p:spPr>
          <a:xfrm>
            <a:off x="314629" y="6237885"/>
            <a:ext cx="336724" cy="374664"/>
          </a:xfrm>
          <a:prstGeom prst="rect">
            <a:avLst/>
          </a:prstGeom>
        </p:spPr>
      </p:pic>
      <p:sp>
        <p:nvSpPr>
          <p:cNvPr id="4" name="Plassholder for innhold 2">
            <a:extLst>
              <a:ext uri="{FF2B5EF4-FFF2-40B4-BE49-F238E27FC236}">
                <a16:creationId xmlns:a16="http://schemas.microsoft.com/office/drawing/2014/main" id="{3B14747F-C5C8-4813-AACF-33170B96353A}"/>
              </a:ext>
            </a:extLst>
          </p:cNvPr>
          <p:cNvSpPr>
            <a:spLocks noGrp="1" noChangeAspect="1"/>
          </p:cNvSpPr>
          <p:nvPr>
            <p:ph idx="1"/>
          </p:nvPr>
        </p:nvSpPr>
        <p:spPr>
          <a:xfrm>
            <a:off x="6542927" y="1111744"/>
            <a:ext cx="5399999" cy="5126141"/>
          </a:xfrm>
        </p:spPr>
        <p:txBody>
          <a:bodyPr anchor="t" anchorCtr="0">
            <a:noAutofit/>
          </a:bodyPr>
          <a:lstStyle>
            <a:lvl1pPr>
              <a:buClr>
                <a:srgbClr val="A40000"/>
              </a:buClr>
              <a:defRPr sz="2400">
                <a:solidFill>
                  <a:schemeClr val="tx1"/>
                </a:solidFill>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innhold 2">
            <a:extLst>
              <a:ext uri="{FF2B5EF4-FFF2-40B4-BE49-F238E27FC236}">
                <a16:creationId xmlns:a16="http://schemas.microsoft.com/office/drawing/2014/main" id="{3D3196D2-8EB5-1122-48BC-46EFC8379984}"/>
              </a:ext>
            </a:extLst>
          </p:cNvPr>
          <p:cNvSpPr>
            <a:spLocks noGrp="1"/>
          </p:cNvSpPr>
          <p:nvPr>
            <p:ph idx="10"/>
          </p:nvPr>
        </p:nvSpPr>
        <p:spPr>
          <a:xfrm>
            <a:off x="838200" y="2091846"/>
            <a:ext cx="5400000" cy="4146039"/>
          </a:xfrm>
        </p:spPr>
        <p:txBody>
          <a:bodyPr anchor="t" anchorCtr="0">
            <a:noAutofit/>
          </a:bodyPr>
          <a:lstStyle>
            <a:lvl1pPr>
              <a:buClr>
                <a:srgbClr val="A40000"/>
              </a:buClr>
              <a:defRPr sz="2400">
                <a:solidFill>
                  <a:schemeClr val="tx1"/>
                </a:solidFill>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ekst 9">
            <a:extLst>
              <a:ext uri="{FF2B5EF4-FFF2-40B4-BE49-F238E27FC236}">
                <a16:creationId xmlns:a16="http://schemas.microsoft.com/office/drawing/2014/main" id="{73B324AC-DC30-80C1-FB42-816079551CDD}"/>
              </a:ext>
            </a:extLst>
          </p:cNvPr>
          <p:cNvSpPr>
            <a:spLocks noGrp="1"/>
          </p:cNvSpPr>
          <p:nvPr>
            <p:ph type="body" sz="quarter" idx="11" hasCustomPrompt="1"/>
          </p:nvPr>
        </p:nvSpPr>
        <p:spPr>
          <a:xfrm>
            <a:off x="837525" y="1111744"/>
            <a:ext cx="5400675" cy="827999"/>
          </a:xfrm>
          <a:solidFill>
            <a:srgbClr val="CCE3FF"/>
          </a:solidFill>
          <a:ln>
            <a:noFill/>
          </a:ln>
        </p:spPr>
        <p:txBody>
          <a:bodyPr wrap="square" lIns="251999" rIns="251999" anchor="ctr">
            <a:noAutofit/>
          </a:bodyPr>
          <a:lstStyle>
            <a:lvl1pPr marL="0" indent="0">
              <a:buNone/>
              <a:defRPr sz="1800" b="1" i="0">
                <a:solidFill>
                  <a:srgbClr val="193271"/>
                </a:solidFill>
                <a:latin typeface="Avenir Next Demi Bold" panose="020B0503020202020204" pitchFamily="34" charset="0"/>
              </a:defRPr>
            </a:lvl1pPr>
          </a:lstStyle>
          <a:p>
            <a:pPr lvl="0"/>
            <a:r>
              <a:rPr lang="nb-NO"/>
              <a:t>Beskriv figuren – maks to linjer</a:t>
            </a:r>
          </a:p>
        </p:txBody>
      </p:sp>
      <p:sp>
        <p:nvSpPr>
          <p:cNvPr id="8" name="Tittel 1">
            <a:extLst>
              <a:ext uri="{FF2B5EF4-FFF2-40B4-BE49-F238E27FC236}">
                <a16:creationId xmlns:a16="http://schemas.microsoft.com/office/drawing/2014/main" id="{25953FBA-6EE0-05B9-ECF3-2467C7AEC17A}"/>
              </a:ext>
            </a:extLst>
          </p:cNvPr>
          <p:cNvSpPr>
            <a:spLocks noGrp="1"/>
          </p:cNvSpPr>
          <p:nvPr>
            <p:ph type="title" hasCustomPrompt="1"/>
          </p:nvPr>
        </p:nvSpPr>
        <p:spPr>
          <a:xfrm>
            <a:off x="838200" y="365124"/>
            <a:ext cx="11104726" cy="640716"/>
          </a:xfrm>
        </p:spPr>
        <p:txBody>
          <a:bodyPr anchor="t" anchorCtr="0">
            <a:noAutofit/>
          </a:bodyPr>
          <a:lstStyle>
            <a:lvl1pPr>
              <a:defRPr sz="4000" b="1" i="0">
                <a:solidFill>
                  <a:srgbClr val="A40000"/>
                </a:solidFill>
                <a:latin typeface="Avenir Next Demi Bold" panose="020B0503020202020204" pitchFamily="34" charset="0"/>
              </a:defRPr>
            </a:lvl1pPr>
          </a:lstStyle>
          <a:p>
            <a:r>
              <a:rPr lang="nb-NO"/>
              <a:t>Sett inn kort overskrift</a:t>
            </a:r>
          </a:p>
        </p:txBody>
      </p:sp>
    </p:spTree>
    <p:extLst>
      <p:ext uri="{BB962C8B-B14F-4D97-AF65-F5344CB8AC3E}">
        <p14:creationId xmlns:p14="http://schemas.microsoft.com/office/powerpoint/2010/main" val="13085131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nholdsside">
    <p:bg>
      <p:bgPr>
        <a:solidFill>
          <a:schemeClr val="bg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953AC85-968B-1745-BD3E-F032213D779C}"/>
              </a:ext>
            </a:extLst>
          </p:cNvPr>
          <p:cNvPicPr>
            <a:picLocks noChangeAspect="1"/>
          </p:cNvPicPr>
          <p:nvPr userDrawn="1"/>
        </p:nvPicPr>
        <p:blipFill>
          <a:blip r:embed="rId2"/>
          <a:srcRect/>
          <a:stretch/>
        </p:blipFill>
        <p:spPr>
          <a:xfrm>
            <a:off x="314629" y="6237885"/>
            <a:ext cx="336724" cy="374664"/>
          </a:xfrm>
          <a:prstGeom prst="rect">
            <a:avLst/>
          </a:prstGeom>
        </p:spPr>
      </p:pic>
      <p:sp>
        <p:nvSpPr>
          <p:cNvPr id="11" name="Plassholder for innhold 2">
            <a:extLst>
              <a:ext uri="{FF2B5EF4-FFF2-40B4-BE49-F238E27FC236}">
                <a16:creationId xmlns:a16="http://schemas.microsoft.com/office/drawing/2014/main" id="{5845D3EF-F9F2-3362-2D9F-28066B887A30}"/>
              </a:ext>
            </a:extLst>
          </p:cNvPr>
          <p:cNvSpPr>
            <a:spLocks noGrp="1"/>
          </p:cNvSpPr>
          <p:nvPr>
            <p:ph idx="10" hasCustomPrompt="1"/>
          </p:nvPr>
        </p:nvSpPr>
        <p:spPr>
          <a:xfrm>
            <a:off x="838198" y="347903"/>
            <a:ext cx="10622281" cy="1344974"/>
          </a:xfrm>
        </p:spPr>
        <p:txBody>
          <a:bodyPr anchor="ctr" anchorCtr="0">
            <a:noAutofit/>
          </a:bodyPr>
          <a:lstStyle>
            <a:lvl1pPr marL="0" indent="0">
              <a:buClr>
                <a:srgbClr val="A40000"/>
              </a:buClr>
              <a:buNone/>
              <a:defRPr sz="4000" b="1" i="0">
                <a:solidFill>
                  <a:srgbClr val="A40000"/>
                </a:solidFill>
                <a:latin typeface="Avenir Next Demi Bold" panose="020B0503020202020204" pitchFamily="34" charset="0"/>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Sett inn overskrift</a:t>
            </a:r>
          </a:p>
        </p:txBody>
      </p:sp>
      <p:sp>
        <p:nvSpPr>
          <p:cNvPr id="3" name="Plassholder for innhold 2">
            <a:extLst>
              <a:ext uri="{FF2B5EF4-FFF2-40B4-BE49-F238E27FC236}">
                <a16:creationId xmlns:a16="http://schemas.microsoft.com/office/drawing/2014/main" id="{A443B06C-B457-E894-8B05-0BCDE1B7FC85}"/>
              </a:ext>
            </a:extLst>
          </p:cNvPr>
          <p:cNvSpPr>
            <a:spLocks noGrp="1"/>
          </p:cNvSpPr>
          <p:nvPr>
            <p:ph idx="11"/>
          </p:nvPr>
        </p:nvSpPr>
        <p:spPr>
          <a:xfrm>
            <a:off x="838199" y="1787236"/>
            <a:ext cx="10622281" cy="4450649"/>
          </a:xfrm>
        </p:spPr>
        <p:txBody>
          <a:bodyPr anchor="t" anchorCtr="0">
            <a:noAutofit/>
          </a:bodyPr>
          <a:lstStyle>
            <a:lvl1pPr>
              <a:buClr>
                <a:srgbClr val="A40000"/>
              </a:buClr>
              <a:defRPr sz="2400">
                <a:solidFill>
                  <a:schemeClr val="tx1"/>
                </a:solidFill>
              </a:defRPr>
            </a:lvl1pPr>
            <a:lvl2pPr marL="685800" indent="-228600">
              <a:buClr>
                <a:srgbClr val="A40000"/>
              </a:buClr>
              <a:buFont typeface="Courier New" panose="02070309020205020404" pitchFamily="49" charset="0"/>
              <a:buChar char="o"/>
              <a:defRPr sz="2400">
                <a:solidFill>
                  <a:schemeClr val="tx1"/>
                </a:solidFill>
              </a:defRPr>
            </a:lvl2pPr>
            <a:lvl3pPr marL="1143000" indent="-228600">
              <a:buClr>
                <a:srgbClr val="A40000"/>
              </a:buClr>
              <a:buFont typeface="Courier New" panose="02070309020205020404" pitchFamily="49" charset="0"/>
              <a:buChar char="o"/>
              <a:defRPr sz="2400">
                <a:solidFill>
                  <a:schemeClr val="tx1"/>
                </a:solidFill>
              </a:defRPr>
            </a:lvl3pPr>
            <a:lvl4pPr marL="1600200" indent="-228600">
              <a:buClr>
                <a:srgbClr val="A40000"/>
              </a:buClr>
              <a:buFont typeface="Courier New" panose="02070309020205020404" pitchFamily="49" charset="0"/>
              <a:buChar char="o"/>
              <a:defRPr sz="2400">
                <a:solidFill>
                  <a:schemeClr val="tx1"/>
                </a:solidFill>
              </a:defRPr>
            </a:lvl4pPr>
            <a:lvl5pPr marL="2057400" indent="-228600">
              <a:buClr>
                <a:srgbClr val="A40000"/>
              </a:buClr>
              <a:buFont typeface="Courier New" panose="02070309020205020404" pitchFamily="49" charset="0"/>
              <a:buChar char="o"/>
              <a:defRPr sz="2400">
                <a:solidFill>
                  <a:schemeClr val="tx1"/>
                </a:solidFill>
              </a:defRPr>
            </a:lvl5pPr>
          </a:lstStyle>
          <a:p>
            <a:pPr lvl="0"/>
            <a:r>
              <a:rPr lang="nb-NO"/>
              <a:t>Klikk for å redigere</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2641296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KUN OVERSKRIFT">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E536A1A7-7882-B941-BD11-955410590C6F}"/>
              </a:ext>
            </a:extLst>
          </p:cNvPr>
          <p:cNvSpPr>
            <a:spLocks noGrp="1"/>
          </p:cNvSpPr>
          <p:nvPr>
            <p:ph type="title" hasCustomPrompt="1"/>
          </p:nvPr>
        </p:nvSpPr>
        <p:spPr>
          <a:xfrm>
            <a:off x="685798" y="881742"/>
            <a:ext cx="10744201"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1961256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7180031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2270080"/>
            <a:ext cx="3513138" cy="1572546"/>
          </a:xfrm>
        </p:spPr>
        <p:txBody>
          <a:bodyPr>
            <a:noAutofit/>
          </a:bodyPr>
          <a:lstStyle>
            <a:lvl1pPr>
              <a:defRPr/>
            </a:lvl1p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a:xfrm>
            <a:off x="4340224" y="633413"/>
            <a:ext cx="7343775" cy="5480583"/>
          </a:xfrm>
        </p:spPr>
        <p:txBody>
          <a:bodyPr anchor="ctr" anchorCtr="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6045066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Store punkt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lvl1pPr marL="434975" indent="-434975">
              <a:spcBef>
                <a:spcPts val="3600"/>
              </a:spcBef>
              <a:buFont typeface="Avenir Next LT Pro" panose="020B0504020202020204" pitchFamily="34" charset="0"/>
              <a:buChar char="•"/>
              <a:defRPr sz="3000"/>
            </a:lvl1pPr>
            <a:lvl2pPr marL="965200" indent="-434975">
              <a:defRPr sz="3000"/>
            </a:lvl2pPr>
            <a:lvl3pPr>
              <a:defRPr sz="2400"/>
            </a:lvl3pPr>
            <a:lvl4pPr>
              <a:defRPr sz="3000"/>
            </a:lvl4pPr>
            <a:lvl5pPr>
              <a:defRPr sz="2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31882794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0F6A5C6-E1C4-952D-DABF-1BB5BF893E82}"/>
              </a:ext>
            </a:extLst>
          </p:cNvPr>
          <p:cNvSpPr>
            <a:spLocks noGrp="1"/>
          </p:cNvSpPr>
          <p:nvPr>
            <p:ph type="title"/>
          </p:nvPr>
        </p:nvSpPr>
        <p:spPr/>
        <p:txBody>
          <a:bodyPr/>
          <a:lstStyle/>
          <a:p>
            <a:r>
              <a:rPr lang="nb-NO"/>
              <a:t>Klikk for å redigere tittelstil</a:t>
            </a:r>
          </a:p>
        </p:txBody>
      </p:sp>
      <p:sp>
        <p:nvSpPr>
          <p:cNvPr id="5" name="Plassholder for dato 4">
            <a:extLst>
              <a:ext uri="{FF2B5EF4-FFF2-40B4-BE49-F238E27FC236}">
                <a16:creationId xmlns:a16="http://schemas.microsoft.com/office/drawing/2014/main" id="{AF9189F2-90EA-8E91-C548-D83149ABBCEB}"/>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6" name="Plassholder for bunntekst 5">
            <a:extLst>
              <a:ext uri="{FF2B5EF4-FFF2-40B4-BE49-F238E27FC236}">
                <a16:creationId xmlns:a16="http://schemas.microsoft.com/office/drawing/2014/main" id="{260C1620-A883-B651-8150-B415FC34F17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DC0A9E3-377C-16F0-9402-9273CFB90EE4}"/>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innhold 2">
            <a:extLst>
              <a:ext uri="{FF2B5EF4-FFF2-40B4-BE49-F238E27FC236}">
                <a16:creationId xmlns:a16="http://schemas.microsoft.com/office/drawing/2014/main" id="{E957C6DE-F39A-9B71-CEB0-43167096BD53}"/>
              </a:ext>
            </a:extLst>
          </p:cNvPr>
          <p:cNvSpPr>
            <a:spLocks noGrp="1"/>
          </p:cNvSpPr>
          <p:nvPr>
            <p:ph idx="1"/>
          </p:nvPr>
        </p:nvSpPr>
        <p:spPr>
          <a:xfrm>
            <a:off x="508000"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22E42883-727C-D486-E333-4D1301749134}"/>
              </a:ext>
            </a:extLst>
          </p:cNvPr>
          <p:cNvSpPr>
            <a:spLocks noGrp="1"/>
          </p:cNvSpPr>
          <p:nvPr>
            <p:ph idx="13"/>
          </p:nvPr>
        </p:nvSpPr>
        <p:spPr>
          <a:xfrm>
            <a:off x="6256339"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453919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23DA3595-0D76-FC7F-CE98-A2771164E21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4" name="Plassholder for bunntekst 3">
            <a:extLst>
              <a:ext uri="{FF2B5EF4-FFF2-40B4-BE49-F238E27FC236}">
                <a16:creationId xmlns:a16="http://schemas.microsoft.com/office/drawing/2014/main" id="{A8C16737-31A4-6AA3-36AE-0BE2577D127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C6A46AD8-B713-9AE7-6379-37F6049140CD}"/>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7908350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021778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23DA3595-0D76-FC7F-CE98-A2771164E21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4" name="Plassholder for bunntekst 3">
            <a:extLst>
              <a:ext uri="{FF2B5EF4-FFF2-40B4-BE49-F238E27FC236}">
                <a16:creationId xmlns:a16="http://schemas.microsoft.com/office/drawing/2014/main" id="{A8C16737-31A4-6AA3-36AE-0BE2577D127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C6A46AD8-B713-9AE7-6379-37F6049140CD}"/>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3216134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 bilder med bilde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6584"/>
            <a:ext cx="3513138" cy="1731243"/>
          </a:xfrm>
        </p:spPr>
        <p:txBody>
          <a:bodyPr/>
          <a:lstStyle>
            <a:lvl1pPr>
              <a:defRPr/>
            </a:lvl1p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4340225" y="973137"/>
            <a:ext cx="3511550" cy="2326745"/>
          </a:xfrm>
        </p:spPr>
        <p:txBody>
          <a:bodyPr/>
          <a:lstStyle>
            <a:lvl1pPr marL="0" indent="0" algn="ctr">
              <a:spcBef>
                <a:spcPts val="0"/>
              </a:spcBef>
              <a:buNone/>
              <a:defRPr sz="1230">
                <a:solidFill>
                  <a:schemeClr val="tx1">
                    <a:lumMod val="65000"/>
                    <a:lumOff val="35000"/>
                  </a:schemeClr>
                </a:solidFill>
              </a:defRPr>
            </a:lvl1pPr>
          </a:lstStyle>
          <a:p>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4340225"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bilde 9">
            <a:extLst>
              <a:ext uri="{FF2B5EF4-FFF2-40B4-BE49-F238E27FC236}">
                <a16:creationId xmlns:a16="http://schemas.microsoft.com/office/drawing/2014/main" id="{C1DF3A02-7D4E-E070-E8EB-0075CB3F8EB1}"/>
              </a:ext>
            </a:extLst>
          </p:cNvPr>
          <p:cNvSpPr>
            <a:spLocks noGrp="1"/>
          </p:cNvSpPr>
          <p:nvPr>
            <p:ph type="pic" sz="quarter" idx="15" hasCustomPrompt="1"/>
          </p:nvPr>
        </p:nvSpPr>
        <p:spPr>
          <a:xfrm>
            <a:off x="8172450" y="973137"/>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a:p>
            <a:endParaRPr lang="nb-NO"/>
          </a:p>
        </p:txBody>
      </p:sp>
      <p:sp>
        <p:nvSpPr>
          <p:cNvPr id="14" name="Plassholder for tekst 11">
            <a:extLst>
              <a:ext uri="{FF2B5EF4-FFF2-40B4-BE49-F238E27FC236}">
                <a16:creationId xmlns:a16="http://schemas.microsoft.com/office/drawing/2014/main" id="{675AED5A-19A5-C720-282C-E6944FFD3EFA}"/>
              </a:ext>
            </a:extLst>
          </p:cNvPr>
          <p:cNvSpPr>
            <a:spLocks noGrp="1"/>
          </p:cNvSpPr>
          <p:nvPr>
            <p:ph type="body" sz="quarter" idx="16"/>
          </p:nvPr>
        </p:nvSpPr>
        <p:spPr>
          <a:xfrm>
            <a:off x="8172450"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835847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8000"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9">
            <a:extLst>
              <a:ext uri="{FF2B5EF4-FFF2-40B4-BE49-F238E27FC236}">
                <a16:creationId xmlns:a16="http://schemas.microsoft.com/office/drawing/2014/main" id="{178FC9FC-B6C5-844F-939E-C34C88C8FB6C}"/>
              </a:ext>
            </a:extLst>
          </p:cNvPr>
          <p:cNvSpPr>
            <a:spLocks noGrp="1"/>
          </p:cNvSpPr>
          <p:nvPr>
            <p:ph type="pic" sz="quarter" idx="15" hasCustomPrompt="1"/>
          </p:nvPr>
        </p:nvSpPr>
        <p:spPr>
          <a:xfrm>
            <a:off x="4340225"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1">
            <a:extLst>
              <a:ext uri="{FF2B5EF4-FFF2-40B4-BE49-F238E27FC236}">
                <a16:creationId xmlns:a16="http://schemas.microsoft.com/office/drawing/2014/main" id="{F795AA08-D323-D3BD-8F35-B592F8564267}"/>
              </a:ext>
            </a:extLst>
          </p:cNvPr>
          <p:cNvSpPr>
            <a:spLocks noGrp="1"/>
          </p:cNvSpPr>
          <p:nvPr>
            <p:ph type="body" sz="quarter" idx="16"/>
          </p:nvPr>
        </p:nvSpPr>
        <p:spPr>
          <a:xfrm>
            <a:off x="4339432"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bilde 9">
            <a:extLst>
              <a:ext uri="{FF2B5EF4-FFF2-40B4-BE49-F238E27FC236}">
                <a16:creationId xmlns:a16="http://schemas.microsoft.com/office/drawing/2014/main" id="{E5CA577E-B187-3AB4-4EE2-5F5A11CB7556}"/>
              </a:ext>
            </a:extLst>
          </p:cNvPr>
          <p:cNvSpPr>
            <a:spLocks noGrp="1"/>
          </p:cNvSpPr>
          <p:nvPr>
            <p:ph type="pic" sz="quarter" idx="17" hasCustomPrompt="1"/>
          </p:nvPr>
        </p:nvSpPr>
        <p:spPr>
          <a:xfrm>
            <a:off x="8170863"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6" name="Plassholder for tekst 11">
            <a:extLst>
              <a:ext uri="{FF2B5EF4-FFF2-40B4-BE49-F238E27FC236}">
                <a16:creationId xmlns:a16="http://schemas.microsoft.com/office/drawing/2014/main" id="{DFD2A434-BC93-65E7-DDCE-6A46FB4FA0BD}"/>
              </a:ext>
            </a:extLst>
          </p:cNvPr>
          <p:cNvSpPr>
            <a:spLocks noGrp="1"/>
          </p:cNvSpPr>
          <p:nvPr>
            <p:ph type="body" sz="quarter" idx="18"/>
          </p:nvPr>
        </p:nvSpPr>
        <p:spPr>
          <a:xfrm>
            <a:off x="8170863"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284542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720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bilde 9">
            <a:extLst>
              <a:ext uri="{FF2B5EF4-FFF2-40B4-BE49-F238E27FC236}">
                <a16:creationId xmlns:a16="http://schemas.microsoft.com/office/drawing/2014/main" id="{38168AA3-E5FC-A7FA-014A-A5985C6AFAF0}"/>
              </a:ext>
            </a:extLst>
          </p:cNvPr>
          <p:cNvSpPr>
            <a:spLocks noGrp="1"/>
          </p:cNvSpPr>
          <p:nvPr>
            <p:ph type="pic" sz="quarter" idx="15" hasCustomPrompt="1"/>
          </p:nvPr>
        </p:nvSpPr>
        <p:spPr>
          <a:xfrm>
            <a:off x="3381375"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3" name="Plassholder for tekst 11">
            <a:extLst>
              <a:ext uri="{FF2B5EF4-FFF2-40B4-BE49-F238E27FC236}">
                <a16:creationId xmlns:a16="http://schemas.microsoft.com/office/drawing/2014/main" id="{D9400DBA-EFA7-073E-1E7D-8AA730308537}"/>
              </a:ext>
            </a:extLst>
          </p:cNvPr>
          <p:cNvSpPr>
            <a:spLocks noGrp="1"/>
          </p:cNvSpPr>
          <p:nvPr>
            <p:ph type="body" sz="quarter" idx="16"/>
          </p:nvPr>
        </p:nvSpPr>
        <p:spPr>
          <a:xfrm>
            <a:off x="3381375"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bilde 9">
            <a:extLst>
              <a:ext uri="{FF2B5EF4-FFF2-40B4-BE49-F238E27FC236}">
                <a16:creationId xmlns:a16="http://schemas.microsoft.com/office/drawing/2014/main" id="{502E25AB-3C2F-9B65-2BDC-0B4AF5AAC703}"/>
              </a:ext>
            </a:extLst>
          </p:cNvPr>
          <p:cNvSpPr>
            <a:spLocks noGrp="1"/>
          </p:cNvSpPr>
          <p:nvPr>
            <p:ph type="pic" sz="quarter" idx="17" hasCustomPrompt="1"/>
          </p:nvPr>
        </p:nvSpPr>
        <p:spPr>
          <a:xfrm>
            <a:off x="625395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7" name="Plassholder for tekst 11">
            <a:extLst>
              <a:ext uri="{FF2B5EF4-FFF2-40B4-BE49-F238E27FC236}">
                <a16:creationId xmlns:a16="http://schemas.microsoft.com/office/drawing/2014/main" id="{E40226CB-A871-0683-4705-905DB53A2E39}"/>
              </a:ext>
            </a:extLst>
          </p:cNvPr>
          <p:cNvSpPr>
            <a:spLocks noGrp="1"/>
          </p:cNvSpPr>
          <p:nvPr>
            <p:ph type="body" sz="quarter" idx="18"/>
          </p:nvPr>
        </p:nvSpPr>
        <p:spPr>
          <a:xfrm>
            <a:off x="625395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8" name="Plassholder for bilde 9">
            <a:extLst>
              <a:ext uri="{FF2B5EF4-FFF2-40B4-BE49-F238E27FC236}">
                <a16:creationId xmlns:a16="http://schemas.microsoft.com/office/drawing/2014/main" id="{2DB17A83-A19E-8C81-FFF5-AA816B3ACCF0}"/>
              </a:ext>
            </a:extLst>
          </p:cNvPr>
          <p:cNvSpPr>
            <a:spLocks noGrp="1"/>
          </p:cNvSpPr>
          <p:nvPr>
            <p:ph type="pic" sz="quarter" idx="19" hasCustomPrompt="1"/>
          </p:nvPr>
        </p:nvSpPr>
        <p:spPr>
          <a:xfrm>
            <a:off x="9128919"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9" name="Plassholder for tekst 11">
            <a:extLst>
              <a:ext uri="{FF2B5EF4-FFF2-40B4-BE49-F238E27FC236}">
                <a16:creationId xmlns:a16="http://schemas.microsoft.com/office/drawing/2014/main" id="{4C1FF866-20B4-8662-65FF-DF45611372C6}"/>
              </a:ext>
            </a:extLst>
          </p:cNvPr>
          <p:cNvSpPr>
            <a:spLocks noGrp="1"/>
          </p:cNvSpPr>
          <p:nvPr>
            <p:ph type="body" sz="quarter" idx="20"/>
          </p:nvPr>
        </p:nvSpPr>
        <p:spPr>
          <a:xfrm>
            <a:off x="9128919"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637401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5A0B7BFA-E24C-73A4-7488-E6AF2D0E4B51}"/>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11423196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bg>
      <p:bgPr>
        <a:solidFill>
          <a:schemeClr val="tx1"/>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spcBef>
                <a:spcPts val="0"/>
              </a:spcBef>
              <a:buNone/>
              <a:defRPr sz="1230">
                <a:solidFill>
                  <a:schemeClr val="bg1">
                    <a:lumMod val="85000"/>
                  </a:schemeClr>
                </a:solidFill>
              </a:defRPr>
            </a:lvl1pPr>
          </a:lstStyle>
          <a:p>
            <a:pPr marL="0" marR="0" lvl="0" indent="0" algn="ctr" defTabSz="914400" rtl="0" eaLnBrk="1" fontAlgn="ctr" latinLnBrk="0" hangingPunct="1">
              <a:lnSpc>
                <a:spcPct val="100000"/>
              </a:lnSpc>
              <a:spcBef>
                <a:spcPts val="0"/>
              </a:spcBef>
              <a:spcAft>
                <a:spcPts val="0"/>
              </a:spcAft>
              <a:buClr>
                <a:schemeClr val="tx2"/>
              </a:buClr>
              <a:buSzTx/>
              <a:buFont typeface="Avenir Next LT Pro" panose="020B0504020202020204" pitchFamily="34" charset="0"/>
              <a:buNone/>
              <a:tabLst/>
              <a:defRPr/>
            </a:pPr>
            <a:r>
              <a:rPr lang="nb-NO" err="1"/>
              <a:t>Drainn</a:t>
            </a:r>
            <a:r>
              <a:rPr lang="nb-NO"/>
              <a:t>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br>
              <a:rPr lang="nb-NO"/>
            </a:br>
            <a:r>
              <a:rPr lang="nb-NO"/>
              <a:t>For </a:t>
            </a:r>
            <a:r>
              <a:rPr lang="nb-NO" err="1"/>
              <a:t>bedre</a:t>
            </a:r>
            <a:r>
              <a:rPr lang="nb-NO"/>
              <a:t> </a:t>
            </a:r>
            <a:r>
              <a:rPr lang="nb-NO" err="1"/>
              <a:t>lesbarhet</a:t>
            </a:r>
            <a:r>
              <a:rPr lang="nb-NO"/>
              <a:t>, </a:t>
            </a:r>
            <a:r>
              <a:rPr lang="nb-NO" err="1"/>
              <a:t>gjør</a:t>
            </a:r>
            <a:r>
              <a:rPr lang="nb-NO"/>
              <a:t> </a:t>
            </a:r>
            <a:r>
              <a:rPr lang="nb-NO" err="1"/>
              <a:t>bildet</a:t>
            </a:r>
            <a:r>
              <a:rPr lang="nb-NO"/>
              <a:t> </a:t>
            </a:r>
            <a:r>
              <a:rPr lang="nb-NO" err="1"/>
              <a:t>mørkere</a:t>
            </a:r>
            <a:r>
              <a:rPr lang="nb-NO"/>
              <a:t> </a:t>
            </a:r>
            <a:r>
              <a:rPr lang="nb-NO" err="1"/>
              <a:t>på</a:t>
            </a:r>
            <a:r>
              <a:rPr lang="nb-NO"/>
              <a:t> </a:t>
            </a:r>
            <a:r>
              <a:rPr lang="nb-NO" err="1"/>
              <a:t>Bildeformat-fanen</a:t>
            </a:r>
            <a:r>
              <a:rPr lang="nb-NO"/>
              <a:t> &gt; </a:t>
            </a:r>
            <a:r>
              <a:rPr lang="nb-NO" err="1"/>
              <a:t>Korrigeringer</a:t>
            </a:r>
            <a:r>
              <a:rPr lang="nb-NO"/>
              <a:t>. </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
        <p:nvSpPr>
          <p:cNvPr id="9" name="Tittel 1">
            <a:extLst>
              <a:ext uri="{FF2B5EF4-FFF2-40B4-BE49-F238E27FC236}">
                <a16:creationId xmlns:a16="http://schemas.microsoft.com/office/drawing/2014/main" id="{2A8A5D1E-CF78-027F-BF70-EA68A4EF52F1}"/>
              </a:ext>
            </a:extLst>
          </p:cNvPr>
          <p:cNvSpPr>
            <a:spLocks noGrp="1"/>
          </p:cNvSpPr>
          <p:nvPr>
            <p:ph type="ctrTitle"/>
          </p:nvPr>
        </p:nvSpPr>
        <p:spPr>
          <a:xfrm>
            <a:off x="1487489" y="2640815"/>
            <a:ext cx="9217024" cy="1443472"/>
          </a:xfrm>
        </p:spPr>
        <p:txBody>
          <a:bodyPr anchor="t" anchorCtr="0">
            <a:noAutofit/>
          </a:bodyPr>
          <a:lstStyle>
            <a:lvl1pPr algn="ctr">
              <a:lnSpc>
                <a:spcPct val="100000"/>
              </a:lnSpc>
              <a:defRPr sz="4690">
                <a:solidFill>
                  <a:schemeClr val="bg1"/>
                </a:solidFill>
              </a:defRPr>
            </a:lvl1pPr>
          </a:lstStyle>
          <a:p>
            <a:r>
              <a:rPr lang="nb-NO"/>
              <a:t>Klikk for å redigere tittelstil</a:t>
            </a:r>
          </a:p>
        </p:txBody>
      </p:sp>
      <p:sp>
        <p:nvSpPr>
          <p:cNvPr id="11" name="Undertittel 2">
            <a:extLst>
              <a:ext uri="{FF2B5EF4-FFF2-40B4-BE49-F238E27FC236}">
                <a16:creationId xmlns:a16="http://schemas.microsoft.com/office/drawing/2014/main" id="{644B20AE-75F5-CA81-5602-207D975A56AA}"/>
              </a:ext>
            </a:extLst>
          </p:cNvPr>
          <p:cNvSpPr>
            <a:spLocks noGrp="1"/>
          </p:cNvSpPr>
          <p:nvPr>
            <p:ph type="subTitle" idx="1" hasCustomPrompt="1"/>
          </p:nvPr>
        </p:nvSpPr>
        <p:spPr>
          <a:xfrm>
            <a:off x="3392488" y="5027944"/>
            <a:ext cx="5407025" cy="591806"/>
          </a:xfrm>
        </p:spPr>
        <p:txBody>
          <a:bodyPr>
            <a:noAutofit/>
          </a:bodyPr>
          <a:lstStyle>
            <a:lvl1pPr marL="0" indent="0" algn="ctr">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Undertittel</a:t>
            </a:r>
            <a:endParaRPr lang="nb-NO"/>
          </a:p>
        </p:txBody>
      </p:sp>
    </p:spTree>
    <p:extLst>
      <p:ext uri="{BB962C8B-B14F-4D97-AF65-F5344CB8AC3E}">
        <p14:creationId xmlns:p14="http://schemas.microsoft.com/office/powerpoint/2010/main" val="8147774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340349"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5338146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7212012"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7211218"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19871157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indre 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4340225"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7587312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indre 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8170863"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8170069"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08000"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7068857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2554505"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7" y="4363891"/>
            <a:ext cx="2555082"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1" name="Plassholder for media 10">
            <a:extLst>
              <a:ext uri="{FF2B5EF4-FFF2-40B4-BE49-F238E27FC236}">
                <a16:creationId xmlns:a16="http://schemas.microsoft.com/office/drawing/2014/main" id="{1738FBB7-0743-D037-4309-B255C61E5514}"/>
              </a:ext>
            </a:extLst>
          </p:cNvPr>
          <p:cNvSpPr>
            <a:spLocks noGrp="1" noChangeAspect="1"/>
          </p:cNvSpPr>
          <p:nvPr>
            <p:ph type="media" sz="quarter" idx="15"/>
          </p:nvPr>
        </p:nvSpPr>
        <p:spPr>
          <a:xfrm>
            <a:off x="3381374" y="965199"/>
            <a:ext cx="8302626" cy="4670227"/>
          </a:xfrm>
        </p:spPr>
        <p:txBody>
          <a:bodyPr/>
          <a:lstStyle>
            <a:lvl1pPr marL="0" indent="0" algn="ctr">
              <a:buNone/>
              <a:defRPr sz="1280">
                <a:solidFill>
                  <a:schemeClr val="tx1">
                    <a:lumMod val="65000"/>
                    <a:lumOff val="35000"/>
                  </a:schemeClr>
                </a:solidFill>
              </a:defRPr>
            </a:lvl1pPr>
          </a:lstStyle>
          <a:p>
            <a:r>
              <a:rPr lang="nb-NO"/>
              <a:t>Klikk ikonet for å legge til media</a:t>
            </a:r>
          </a:p>
        </p:txBody>
      </p:sp>
    </p:spTree>
    <p:extLst>
      <p:ext uri="{BB962C8B-B14F-4D97-AF65-F5344CB8AC3E}">
        <p14:creationId xmlns:p14="http://schemas.microsoft.com/office/powerpoint/2010/main" val="290783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3672531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redragsholder">
    <p:spTree>
      <p:nvGrpSpPr>
        <p:cNvPr id="1" name=""/>
        <p:cNvGrpSpPr/>
        <p:nvPr/>
      </p:nvGrpSpPr>
      <p:grpSpPr>
        <a:xfrm>
          <a:off x="0" y="0"/>
          <a:ext cx="0" cy="0"/>
          <a:chOff x="0" y="0"/>
          <a:chExt cx="0" cy="0"/>
        </a:xfrm>
      </p:grpSpPr>
      <p:pic>
        <p:nvPicPr>
          <p:cNvPr id="20" name="Bakgrunn">
            <a:extLst>
              <a:ext uri="{FF2B5EF4-FFF2-40B4-BE49-F238E27FC236}">
                <a16:creationId xmlns:a16="http://schemas.microsoft.com/office/drawing/2014/main" id="{0D809F8B-6594-DDA9-E6B3-F959C1247D7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2" name="Tittel 1">
            <a:extLst>
              <a:ext uri="{FF2B5EF4-FFF2-40B4-BE49-F238E27FC236}">
                <a16:creationId xmlns:a16="http://schemas.microsoft.com/office/drawing/2014/main" id="{18852FBA-A3B8-96BF-7F56-D7EEA9A53067}"/>
              </a:ext>
            </a:extLst>
          </p:cNvPr>
          <p:cNvSpPr>
            <a:spLocks noGrp="1"/>
          </p:cNvSpPr>
          <p:nvPr>
            <p:ph type="title" hasCustomPrompt="1"/>
          </p:nvPr>
        </p:nvSpPr>
        <p:spPr>
          <a:xfrm>
            <a:off x="6254750" y="2527089"/>
            <a:ext cx="5429250" cy="461665"/>
          </a:xfrm>
        </p:spPr>
        <p:txBody>
          <a:bodyPr anchor="t" anchorCtr="0">
            <a:spAutoFit/>
          </a:bodyPr>
          <a:lstStyle>
            <a:lvl1pPr>
              <a:defRPr sz="3000"/>
            </a:lvl1pPr>
          </a:lstStyle>
          <a:p>
            <a:r>
              <a:rPr lang="nb-NO"/>
              <a:t>Navn </a:t>
            </a:r>
            <a:r>
              <a:rPr lang="nb-NO" err="1"/>
              <a:t>Navnesen</a:t>
            </a:r>
            <a:endParaRPr lang="nb-NO"/>
          </a:p>
        </p:txBody>
      </p:sp>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16" name="Plassholder for tekst 12">
            <a:extLst>
              <a:ext uri="{FF2B5EF4-FFF2-40B4-BE49-F238E27FC236}">
                <a16:creationId xmlns:a16="http://schemas.microsoft.com/office/drawing/2014/main" id="{1AFAF5EF-6891-F098-DD34-B1594D40AE88}"/>
              </a:ext>
            </a:extLst>
          </p:cNvPr>
          <p:cNvSpPr>
            <a:spLocks noGrp="1"/>
          </p:cNvSpPr>
          <p:nvPr>
            <p:ph type="body" sz="quarter" idx="14" hasCustomPrompt="1"/>
          </p:nvPr>
        </p:nvSpPr>
        <p:spPr>
          <a:xfrm>
            <a:off x="6254750" y="4192057"/>
            <a:ext cx="5429250" cy="295466"/>
          </a:xfrm>
        </p:spPr>
        <p:txBody>
          <a:bodyPr anchor="t" anchorCtr="0">
            <a:noAutofit/>
          </a:bodyPr>
          <a:lstStyle>
            <a:lvl1pPr marL="0" indent="0">
              <a:buNone/>
              <a:defRPr sz="1920"/>
            </a:lvl1pPr>
            <a:lvl2pPr marL="457200" indent="0">
              <a:buNone/>
              <a:defRPr sz="1920"/>
            </a:lvl2pPr>
            <a:lvl3pPr>
              <a:defRPr sz="1920"/>
            </a:lvl3pPr>
          </a:lstStyle>
          <a:p>
            <a:pPr lvl="0"/>
            <a:r>
              <a:rPr lang="nb-NO"/>
              <a:t>Stillingstittel</a:t>
            </a:r>
          </a:p>
        </p:txBody>
      </p:sp>
      <p:sp>
        <p:nvSpPr>
          <p:cNvPr id="13" name="Plassholder for tekst 12">
            <a:extLst>
              <a:ext uri="{FF2B5EF4-FFF2-40B4-BE49-F238E27FC236}">
                <a16:creationId xmlns:a16="http://schemas.microsoft.com/office/drawing/2014/main" id="{3292A660-80D8-0E34-F830-E39EF64189BE}"/>
              </a:ext>
            </a:extLst>
          </p:cNvPr>
          <p:cNvSpPr>
            <a:spLocks noGrp="1"/>
          </p:cNvSpPr>
          <p:nvPr>
            <p:ph type="body" sz="quarter" idx="13" hasCustomPrompt="1"/>
          </p:nvPr>
        </p:nvSpPr>
        <p:spPr>
          <a:xfrm>
            <a:off x="6254750" y="4737099"/>
            <a:ext cx="5429250" cy="634685"/>
          </a:xfrm>
        </p:spPr>
        <p:txBody>
          <a:bodyPr anchor="t" anchorCtr="0"/>
          <a:lstStyle>
            <a:lvl1pPr marL="0" indent="0">
              <a:buNone/>
              <a:defRPr sz="1920"/>
            </a:lvl1pPr>
            <a:lvl2pPr marL="457200" indent="0">
              <a:buNone/>
              <a:defRPr sz="1920"/>
            </a:lvl2pPr>
            <a:lvl3pPr>
              <a:defRPr sz="1920"/>
            </a:lvl3pPr>
          </a:lstStyle>
          <a:p>
            <a:pPr lvl="0"/>
            <a:r>
              <a:rPr lang="nb-NO"/>
              <a:t>Kontaktinformasjon</a:t>
            </a:r>
          </a:p>
        </p:txBody>
      </p:sp>
      <p:sp>
        <p:nvSpPr>
          <p:cNvPr id="17" name="Plassholder for bilde 9">
            <a:extLst>
              <a:ext uri="{FF2B5EF4-FFF2-40B4-BE49-F238E27FC236}">
                <a16:creationId xmlns:a16="http://schemas.microsoft.com/office/drawing/2014/main" id="{DBCD7D44-0F84-E966-4A88-2A40FF606102}"/>
              </a:ext>
            </a:extLst>
          </p:cNvPr>
          <p:cNvSpPr>
            <a:spLocks noGrp="1"/>
          </p:cNvSpPr>
          <p:nvPr>
            <p:ph type="pic" sz="quarter" idx="15" hasCustomPrompt="1"/>
          </p:nvPr>
        </p:nvSpPr>
        <p:spPr>
          <a:xfrm>
            <a:off x="1803399" y="633414"/>
            <a:ext cx="3492501" cy="47048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16270658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 personer">
    <p:spTree>
      <p:nvGrpSpPr>
        <p:cNvPr id="1" name=""/>
        <p:cNvGrpSpPr/>
        <p:nvPr/>
      </p:nvGrpSpPr>
      <p:grpSpPr>
        <a:xfrm>
          <a:off x="0" y="0"/>
          <a:ext cx="0" cy="0"/>
          <a:chOff x="0" y="0"/>
          <a:chExt cx="0" cy="0"/>
        </a:xfrm>
      </p:grpSpPr>
      <p:pic>
        <p:nvPicPr>
          <p:cNvPr id="2" name="Bakgrunn">
            <a:extLst>
              <a:ext uri="{FF2B5EF4-FFF2-40B4-BE49-F238E27FC236}">
                <a16:creationId xmlns:a16="http://schemas.microsoft.com/office/drawing/2014/main" id="{82A16B8F-E0C8-9D9B-AD8A-4C0B7A2C319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8" name="Plassholder for bilde 9">
            <a:extLst>
              <a:ext uri="{FF2B5EF4-FFF2-40B4-BE49-F238E27FC236}">
                <a16:creationId xmlns:a16="http://schemas.microsoft.com/office/drawing/2014/main" id="{34B5D24B-2800-CAC2-4CEF-AB454968D407}"/>
              </a:ext>
            </a:extLst>
          </p:cNvPr>
          <p:cNvSpPr>
            <a:spLocks noGrp="1"/>
          </p:cNvSpPr>
          <p:nvPr>
            <p:ph type="pic" sz="quarter" idx="13" hasCustomPrompt="1"/>
          </p:nvPr>
        </p:nvSpPr>
        <p:spPr>
          <a:xfrm>
            <a:off x="50800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B6D436D9-203D-126A-E0B1-20ADEE3C0AB2}"/>
              </a:ext>
            </a:extLst>
          </p:cNvPr>
          <p:cNvSpPr>
            <a:spLocks noGrp="1"/>
          </p:cNvSpPr>
          <p:nvPr>
            <p:ph type="body" sz="quarter" idx="14" hasCustomPrompt="1"/>
          </p:nvPr>
        </p:nvSpPr>
        <p:spPr>
          <a:xfrm>
            <a:off x="50800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14" name="Plassholder for tekst 11">
            <a:extLst>
              <a:ext uri="{FF2B5EF4-FFF2-40B4-BE49-F238E27FC236}">
                <a16:creationId xmlns:a16="http://schemas.microsoft.com/office/drawing/2014/main" id="{60667DA7-070B-41A5-B209-DA5076EDE606}"/>
              </a:ext>
            </a:extLst>
          </p:cNvPr>
          <p:cNvSpPr>
            <a:spLocks noGrp="1"/>
          </p:cNvSpPr>
          <p:nvPr>
            <p:ph type="body" sz="quarter" idx="15" hasCustomPrompt="1"/>
          </p:nvPr>
        </p:nvSpPr>
        <p:spPr>
          <a:xfrm>
            <a:off x="50800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15" name="Plassholder for bilde 9">
            <a:extLst>
              <a:ext uri="{FF2B5EF4-FFF2-40B4-BE49-F238E27FC236}">
                <a16:creationId xmlns:a16="http://schemas.microsoft.com/office/drawing/2014/main" id="{5F961436-BA38-F2E0-FB61-51E6CC2393C9}"/>
              </a:ext>
            </a:extLst>
          </p:cNvPr>
          <p:cNvSpPr>
            <a:spLocks noGrp="1"/>
          </p:cNvSpPr>
          <p:nvPr>
            <p:ph type="pic" sz="quarter" idx="16" hasCustomPrompt="1"/>
          </p:nvPr>
        </p:nvSpPr>
        <p:spPr>
          <a:xfrm>
            <a:off x="4340225"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8" name="Plassholder for tekst 11">
            <a:extLst>
              <a:ext uri="{FF2B5EF4-FFF2-40B4-BE49-F238E27FC236}">
                <a16:creationId xmlns:a16="http://schemas.microsoft.com/office/drawing/2014/main" id="{8AE45EFD-26BB-B0EF-1689-F0FA533FFD0F}"/>
              </a:ext>
            </a:extLst>
          </p:cNvPr>
          <p:cNvSpPr>
            <a:spLocks noGrp="1"/>
          </p:cNvSpPr>
          <p:nvPr>
            <p:ph type="body" sz="quarter" idx="17" hasCustomPrompt="1"/>
          </p:nvPr>
        </p:nvSpPr>
        <p:spPr>
          <a:xfrm>
            <a:off x="4340225"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0" name="Plassholder for tekst 11">
            <a:extLst>
              <a:ext uri="{FF2B5EF4-FFF2-40B4-BE49-F238E27FC236}">
                <a16:creationId xmlns:a16="http://schemas.microsoft.com/office/drawing/2014/main" id="{C1F1B68C-C2B7-7609-C1AC-0B39FEC6EF71}"/>
              </a:ext>
            </a:extLst>
          </p:cNvPr>
          <p:cNvSpPr>
            <a:spLocks noGrp="1"/>
          </p:cNvSpPr>
          <p:nvPr>
            <p:ph type="body" sz="quarter" idx="18" hasCustomPrompt="1"/>
          </p:nvPr>
        </p:nvSpPr>
        <p:spPr>
          <a:xfrm>
            <a:off x="4340225"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1" name="Plassholder for bilde 9">
            <a:extLst>
              <a:ext uri="{FF2B5EF4-FFF2-40B4-BE49-F238E27FC236}">
                <a16:creationId xmlns:a16="http://schemas.microsoft.com/office/drawing/2014/main" id="{49325E17-F243-8A88-B31D-25EEB02C1FF4}"/>
              </a:ext>
            </a:extLst>
          </p:cNvPr>
          <p:cNvSpPr>
            <a:spLocks noGrp="1"/>
          </p:cNvSpPr>
          <p:nvPr>
            <p:ph type="pic" sz="quarter" idx="19" hasCustomPrompt="1"/>
          </p:nvPr>
        </p:nvSpPr>
        <p:spPr>
          <a:xfrm>
            <a:off x="817245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22" name="Plassholder for tekst 11">
            <a:extLst>
              <a:ext uri="{FF2B5EF4-FFF2-40B4-BE49-F238E27FC236}">
                <a16:creationId xmlns:a16="http://schemas.microsoft.com/office/drawing/2014/main" id="{8B3E09C6-E5BC-1FCA-BB1E-D332DD1A31C1}"/>
              </a:ext>
            </a:extLst>
          </p:cNvPr>
          <p:cNvSpPr>
            <a:spLocks noGrp="1"/>
          </p:cNvSpPr>
          <p:nvPr>
            <p:ph type="body" sz="quarter" idx="20" hasCustomPrompt="1"/>
          </p:nvPr>
        </p:nvSpPr>
        <p:spPr>
          <a:xfrm>
            <a:off x="817245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3" name="Plassholder for tekst 11">
            <a:extLst>
              <a:ext uri="{FF2B5EF4-FFF2-40B4-BE49-F238E27FC236}">
                <a16:creationId xmlns:a16="http://schemas.microsoft.com/office/drawing/2014/main" id="{59CFA003-DD32-BD68-7492-1BAF7AF1AACA}"/>
              </a:ext>
            </a:extLst>
          </p:cNvPr>
          <p:cNvSpPr>
            <a:spLocks noGrp="1"/>
          </p:cNvSpPr>
          <p:nvPr>
            <p:ph type="body" sz="quarter" idx="21" hasCustomPrompt="1"/>
          </p:nvPr>
        </p:nvSpPr>
        <p:spPr>
          <a:xfrm>
            <a:off x="817245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4" name="Tittel 1">
            <a:extLst>
              <a:ext uri="{FF2B5EF4-FFF2-40B4-BE49-F238E27FC236}">
                <a16:creationId xmlns:a16="http://schemas.microsoft.com/office/drawing/2014/main" id="{4F6D96B2-9305-A690-7BEA-E8F2EBD13A7C}"/>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Tree>
    <p:extLst>
      <p:ext uri="{BB962C8B-B14F-4D97-AF65-F5344CB8AC3E}">
        <p14:creationId xmlns:p14="http://schemas.microsoft.com/office/powerpoint/2010/main" val="9440788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sp>
        <p:nvSpPr>
          <p:cNvPr id="6" name="Content Placeholder 5">
            <a:extLst>
              <a:ext uri="{FF2B5EF4-FFF2-40B4-BE49-F238E27FC236}">
                <a16:creationId xmlns:a16="http://schemas.microsoft.com/office/drawing/2014/main" id="{611A7EBB-3399-4893-B2ED-2AB5528D3477}"/>
              </a:ext>
            </a:extLst>
          </p:cNvPr>
          <p:cNvSpPr>
            <a:spLocks noGrp="1"/>
          </p:cNvSpPr>
          <p:nvPr>
            <p:ph sz="quarter" idx="17"/>
          </p:nvPr>
        </p:nvSpPr>
        <p:spPr>
          <a:xfrm>
            <a:off x="839788" y="2097088"/>
            <a:ext cx="10514012" cy="4103687"/>
          </a:xfrm>
        </p:spPr>
        <p:txBody>
          <a:bodyPr/>
          <a:lstStyle/>
          <a:p>
            <a:pPr lvl="0"/>
            <a:r>
              <a:rPr lang="nb-NO" noProof="0" err="1"/>
              <a:t>Click</a:t>
            </a:r>
            <a:r>
              <a:rPr lang="nb-NO" noProof="0"/>
              <a:t> to </a:t>
            </a:r>
            <a:r>
              <a:rPr lang="nb-NO" noProof="0" err="1"/>
              <a:t>edit</a:t>
            </a:r>
            <a:r>
              <a:rPr lang="nb-NO" noProof="0"/>
              <a:t> Master </a:t>
            </a:r>
            <a:r>
              <a:rPr lang="nb-NO" noProof="0" err="1"/>
              <a:t>text</a:t>
            </a:r>
            <a:r>
              <a:rPr lang="nb-NO" noProof="0"/>
              <a:t> styles</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rmAutofit/>
          </a:bodyPr>
          <a:lstStyle>
            <a:lvl1pPr marL="0" indent="0">
              <a:buNone/>
              <a:defRPr sz="2800" b="0">
                <a:solidFill>
                  <a:schemeClr val="tx2"/>
                </a:solidFill>
                <a:latin typeface="Inter SemiBold" panose="020B0502030000000004" pitchFamily="34" charset="0"/>
                <a:ea typeface="Inter SemiBold" panose="020B0502030000000004" pitchFamily="34" charset="0"/>
              </a:defRPr>
            </a:lvl1pPr>
          </a:lstStyle>
          <a:p>
            <a:pPr lvl="0"/>
            <a:r>
              <a:rPr lang="nb-NO" noProof="0" err="1"/>
              <a:t>Click</a:t>
            </a:r>
            <a:r>
              <a:rPr lang="nb-NO" noProof="0"/>
              <a:t> to </a:t>
            </a:r>
            <a:r>
              <a:rPr lang="nb-NO" noProof="0" err="1"/>
              <a:t>edit</a:t>
            </a:r>
            <a:r>
              <a:rPr lang="nb-NO" noProof="0"/>
              <a:t> Master </a:t>
            </a:r>
            <a:r>
              <a:rPr lang="nb-NO" noProof="0" err="1"/>
              <a:t>text</a:t>
            </a:r>
            <a:r>
              <a:rPr lang="nb-NO" noProof="0"/>
              <a:t> styles</a:t>
            </a:r>
          </a:p>
        </p:txBody>
      </p:sp>
    </p:spTree>
    <p:extLst>
      <p:ext uri="{BB962C8B-B14F-4D97-AF65-F5344CB8AC3E}">
        <p14:creationId xmlns:p14="http://schemas.microsoft.com/office/powerpoint/2010/main" val="3946201227"/>
      </p:ext>
    </p:extLst>
  </p:cSld>
  <p:clrMapOvr>
    <a:masterClrMapping/>
  </p:clrMapOvr>
  <p:extLst>
    <p:ext uri="{DCECCB84-F9BA-43D5-87BE-67443E8EF086}">
      <p15:sldGuideLst xmlns:p15="http://schemas.microsoft.com/office/powerpoint/2012/main">
        <p15:guide id="1" orient="horz" pos="82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te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lstStyle/>
          <a:p>
            <a:r>
              <a:rPr lang="en-GB" noProof="0"/>
              <a:t>Click to edit Master title style</a:t>
            </a:r>
            <a:endParaRPr lang="nb-NO" noProof="0"/>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rmAutofit/>
          </a:bodyPr>
          <a:lstStyle>
            <a:lvl1pPr marL="0" indent="0">
              <a:buNone/>
              <a:defRPr sz="2800" b="0">
                <a:solidFill>
                  <a:schemeClr val="bg2"/>
                </a:solidFill>
                <a:latin typeface="Inter SemiBold" panose="020B0502030000000004" pitchFamily="34" charset="0"/>
                <a:ea typeface="Inter SemiBold" panose="020B0502030000000004" pitchFamily="34" charset="0"/>
              </a:defRPr>
            </a:lvl1pPr>
          </a:lstStyle>
          <a:p>
            <a:pPr lvl="0"/>
            <a:r>
              <a:rPr lang="en-GB" noProof="0"/>
              <a:t>Click to edit Master text styles</a:t>
            </a:r>
          </a:p>
        </p:txBody>
      </p:sp>
    </p:spTree>
    <p:extLst>
      <p:ext uri="{BB962C8B-B14F-4D97-AF65-F5344CB8AC3E}">
        <p14:creationId xmlns:p14="http://schemas.microsoft.com/office/powerpoint/2010/main" val="396677083"/>
      </p:ext>
    </p:extLst>
  </p:cSld>
  <p:clrMapOvr>
    <a:masterClrMapping/>
  </p:clrMapOvr>
  <p:extLst>
    <p:ext uri="{DCECCB84-F9BA-43D5-87BE-67443E8EF086}">
      <p15:sldGuideLst xmlns:p15="http://schemas.microsoft.com/office/powerpoint/2012/main">
        <p15:guide id="1" orient="horz" pos="82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35906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n-NO" sz="3400" b="0" i="0" baseline="0">
              <a:solidFill>
                <a:srgbClr val="FFFFFF"/>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ea typeface="+mn-ea"/>
                <a:cs typeface="+mn-cs"/>
                <a:sym typeface="Trebuchet MS" panose="020B0603020202020204" pitchFamily="34" charset="0"/>
              </a:defRPr>
            </a:lvl1pPr>
          </a:lstStyle>
          <a:p>
            <a:endParaRPr lang="nn-NO"/>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nn-NO" sz="700">
              <a:solidFill>
                <a:schemeClr val="bg1">
                  <a:lumMod val="50000"/>
                </a:schemeClr>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ED9300"/>
                </a:solidFill>
                <a:latin typeface="+mj-lt"/>
                <a:ea typeface="+mj-ea"/>
                <a:cs typeface="+mj-cs"/>
                <a:sym typeface="Trebuchet MS" panose="020B0603020202020204" pitchFamily="34" charset="0"/>
              </a:defRPr>
            </a:lvl1pPr>
          </a:lstStyle>
          <a:p>
            <a:pPr lvl="0"/>
            <a:r>
              <a:rPr lang="nn-NO"/>
              <a:t>Click to add title</a:t>
            </a:r>
          </a:p>
        </p:txBody>
      </p:sp>
      <p:pic>
        <p:nvPicPr>
          <p:cNvPr id="8" name="Graphic 7">
            <a:extLst>
              <a:ext uri="{FF2B5EF4-FFF2-40B4-BE49-F238E27FC236}">
                <a16:creationId xmlns:a16="http://schemas.microsoft.com/office/drawing/2014/main" id="{31A6CD11-E977-49CF-A845-B2E5D94F5363}"/>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375947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Tittel og innho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lstStyle/>
          <a:p>
            <a:r>
              <a:rPr lang="nb-NO" noProof="0"/>
              <a:t>Click to edit Master title style</a:t>
            </a:r>
          </a:p>
        </p:txBody>
      </p:sp>
      <p:sp>
        <p:nvSpPr>
          <p:cNvPr id="6" name="Content Placeholder 5">
            <a:extLst>
              <a:ext uri="{FF2B5EF4-FFF2-40B4-BE49-F238E27FC236}">
                <a16:creationId xmlns:a16="http://schemas.microsoft.com/office/drawing/2014/main" id="{611A7EBB-3399-4893-B2ED-2AB5528D3477}"/>
              </a:ext>
            </a:extLst>
          </p:cNvPr>
          <p:cNvSpPr>
            <a:spLocks noGrp="1"/>
          </p:cNvSpPr>
          <p:nvPr>
            <p:ph sz="quarter" idx="17"/>
          </p:nvPr>
        </p:nvSpPr>
        <p:spPr>
          <a:xfrm>
            <a:off x="839788" y="2097088"/>
            <a:ext cx="10514012" cy="4103687"/>
          </a:xfrm>
        </p:spPr>
        <p:txBody>
          <a:bodyPr/>
          <a:lstStyle/>
          <a:p>
            <a:pPr lvl="0"/>
            <a:r>
              <a:rPr lang="nb-NO" noProof="0"/>
              <a:t>Click to edit Master text styles</a:t>
            </a:r>
          </a:p>
          <a:p>
            <a:pPr lvl="1"/>
            <a:r>
              <a:rPr lang="nb-NO" noProof="0"/>
              <a:t>Second level</a:t>
            </a:r>
          </a:p>
          <a:p>
            <a:pPr lvl="2"/>
            <a:r>
              <a:rPr lang="nb-NO" noProof="0"/>
              <a:t>Third level</a:t>
            </a:r>
          </a:p>
          <a:p>
            <a:pPr lvl="3"/>
            <a:r>
              <a:rPr lang="nb-NO" noProof="0"/>
              <a:t>Fourth level</a:t>
            </a:r>
          </a:p>
          <a:p>
            <a:pPr lvl="4"/>
            <a:r>
              <a:rPr lang="nb-NO" noProof="0"/>
              <a:t>Fifth level</a:t>
            </a:r>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Autofit/>
          </a:bodyPr>
          <a:lstStyle>
            <a:lvl1pPr marL="0" indent="0">
              <a:buNone/>
              <a:defRPr sz="2800" b="0">
                <a:solidFill>
                  <a:schemeClr val="tx2"/>
                </a:solidFill>
                <a:latin typeface="Inter SemiBold" panose="020B0502030000000004" pitchFamily="34" charset="0"/>
                <a:ea typeface="Inter SemiBold" panose="020B0502030000000004" pitchFamily="34" charset="0"/>
              </a:defRPr>
            </a:lvl1pPr>
          </a:lstStyle>
          <a:p>
            <a:pPr lvl="0"/>
            <a:r>
              <a:rPr lang="nb-NO" noProof="0"/>
              <a:t>Click to edit Master text styles</a:t>
            </a:r>
          </a:p>
        </p:txBody>
      </p:sp>
    </p:spTree>
    <p:extLst>
      <p:ext uri="{BB962C8B-B14F-4D97-AF65-F5344CB8AC3E}">
        <p14:creationId xmlns:p14="http://schemas.microsoft.com/office/powerpoint/2010/main" val="3875615479"/>
      </p:ext>
    </p:extLst>
  </p:cSld>
  <p:clrMapOvr>
    <a:masterClrMapping/>
  </p:clrMapOvr>
  <p:extLst>
    <p:ext uri="{DCECCB84-F9BA-43D5-87BE-67443E8EF086}">
      <p15:sldGuideLst xmlns:p15="http://schemas.microsoft.com/office/powerpoint/2012/main">
        <p15:guide id="1" orient="horz" pos="82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OVERSKRIFT">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E536A1A7-7882-B941-BD11-955410590C6F}"/>
              </a:ext>
            </a:extLst>
          </p:cNvPr>
          <p:cNvSpPr>
            <a:spLocks noGrp="1"/>
          </p:cNvSpPr>
          <p:nvPr>
            <p:ph type="title" hasCustomPrompt="1"/>
          </p:nvPr>
        </p:nvSpPr>
        <p:spPr>
          <a:xfrm>
            <a:off x="685798" y="881742"/>
            <a:ext cx="10744201" cy="794203"/>
          </a:xfrm>
          <a:prstGeom prst="rect">
            <a:avLst/>
          </a:prstGeom>
        </p:spPr>
        <p:txBody>
          <a:bodyPr>
            <a:normAutofit/>
          </a:bodyPr>
          <a:lstStyle>
            <a:lvl1pPr>
              <a:defRPr b="1">
                <a:solidFill>
                  <a:srgbClr val="11133C"/>
                </a:solidFill>
                <a:latin typeface="Inter" panose="020B0502030000000004" pitchFamily="34" charset="0"/>
                <a:ea typeface="Inter" panose="020B0502030000000004" pitchFamily="34" charset="0"/>
              </a:defRPr>
            </a:lvl1pPr>
          </a:lstStyle>
          <a:p>
            <a:r>
              <a:rPr lang="en-GB"/>
              <a:t>OVERSKRIFT / </a:t>
            </a:r>
            <a:r>
              <a:rPr lang="en-GB" err="1"/>
              <a:t>overskrift</a:t>
            </a:r>
            <a:r>
              <a:rPr lang="en-GB"/>
              <a:t> </a:t>
            </a:r>
            <a:endParaRPr lang="nb-NO"/>
          </a:p>
        </p:txBody>
      </p:sp>
    </p:spTree>
    <p:extLst>
      <p:ext uri="{BB962C8B-B14F-4D97-AF65-F5344CB8AC3E}">
        <p14:creationId xmlns:p14="http://schemas.microsoft.com/office/powerpoint/2010/main" val="12478880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4324505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2270080"/>
            <a:ext cx="3513138" cy="1572546"/>
          </a:xfrm>
        </p:spPr>
        <p:txBody>
          <a:bodyPr>
            <a:noAutofit/>
          </a:bodyPr>
          <a:lstStyle>
            <a:lvl1pPr>
              <a:defRPr/>
            </a:lvl1p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a:xfrm>
            <a:off x="4340224" y="633413"/>
            <a:ext cx="7343775" cy="5480583"/>
          </a:xfrm>
        </p:spPr>
        <p:txBody>
          <a:bodyPr anchor="ctr" anchorCtr="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642573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Store punkt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lvl1pPr marL="434975" indent="-434975">
              <a:spcBef>
                <a:spcPts val="3600"/>
              </a:spcBef>
              <a:buFont typeface="Avenir Next LT Pro" panose="020B0504020202020204" pitchFamily="34" charset="0"/>
              <a:buChar char="•"/>
              <a:defRPr sz="3000"/>
            </a:lvl1pPr>
            <a:lvl2pPr marL="965200" indent="-434975">
              <a:defRPr sz="3000"/>
            </a:lvl2pPr>
            <a:lvl3pPr>
              <a:defRPr sz="2400"/>
            </a:lvl3pPr>
            <a:lvl4pPr>
              <a:defRPr sz="3000"/>
            </a:lvl4pPr>
            <a:lvl5pPr>
              <a:defRPr sz="2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4231520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bilder med bilde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6584"/>
            <a:ext cx="3513138" cy="1731243"/>
          </a:xfrm>
        </p:spPr>
        <p:txBody>
          <a:bodyPr/>
          <a:lstStyle>
            <a:lvl1pPr>
              <a:defRPr/>
            </a:lvl1p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4340225" y="973137"/>
            <a:ext cx="3511550" cy="2326745"/>
          </a:xfrm>
        </p:spPr>
        <p:txBody>
          <a:bodyPr/>
          <a:lstStyle>
            <a:lvl1pPr marL="0" indent="0" algn="ctr">
              <a:spcBef>
                <a:spcPts val="0"/>
              </a:spcBef>
              <a:buNone/>
              <a:defRPr sz="1230">
                <a:solidFill>
                  <a:schemeClr val="tx1">
                    <a:lumMod val="65000"/>
                    <a:lumOff val="35000"/>
                  </a:schemeClr>
                </a:solidFill>
              </a:defRPr>
            </a:lvl1pPr>
          </a:lstStyle>
          <a:p>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4340225"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bilde 9">
            <a:extLst>
              <a:ext uri="{FF2B5EF4-FFF2-40B4-BE49-F238E27FC236}">
                <a16:creationId xmlns:a16="http://schemas.microsoft.com/office/drawing/2014/main" id="{C1DF3A02-7D4E-E070-E8EB-0075CB3F8EB1}"/>
              </a:ext>
            </a:extLst>
          </p:cNvPr>
          <p:cNvSpPr>
            <a:spLocks noGrp="1"/>
          </p:cNvSpPr>
          <p:nvPr>
            <p:ph type="pic" sz="quarter" idx="15" hasCustomPrompt="1"/>
          </p:nvPr>
        </p:nvSpPr>
        <p:spPr>
          <a:xfrm>
            <a:off x="8172450" y="973137"/>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a:p>
            <a:endParaRPr lang="nb-NO"/>
          </a:p>
        </p:txBody>
      </p:sp>
      <p:sp>
        <p:nvSpPr>
          <p:cNvPr id="14" name="Plassholder for tekst 11">
            <a:extLst>
              <a:ext uri="{FF2B5EF4-FFF2-40B4-BE49-F238E27FC236}">
                <a16:creationId xmlns:a16="http://schemas.microsoft.com/office/drawing/2014/main" id="{675AED5A-19A5-C720-282C-E6944FFD3EFA}"/>
              </a:ext>
            </a:extLst>
          </p:cNvPr>
          <p:cNvSpPr>
            <a:spLocks noGrp="1"/>
          </p:cNvSpPr>
          <p:nvPr>
            <p:ph type="body" sz="quarter" idx="16"/>
          </p:nvPr>
        </p:nvSpPr>
        <p:spPr>
          <a:xfrm>
            <a:off x="8172450"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764345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0F6A5C6-E1C4-952D-DABF-1BB5BF893E82}"/>
              </a:ext>
            </a:extLst>
          </p:cNvPr>
          <p:cNvSpPr>
            <a:spLocks noGrp="1"/>
          </p:cNvSpPr>
          <p:nvPr>
            <p:ph type="title"/>
          </p:nvPr>
        </p:nvSpPr>
        <p:spPr/>
        <p:txBody>
          <a:bodyPr/>
          <a:lstStyle/>
          <a:p>
            <a:r>
              <a:rPr lang="nb-NO"/>
              <a:t>Klikk for å redigere tittelstil</a:t>
            </a:r>
          </a:p>
        </p:txBody>
      </p:sp>
      <p:sp>
        <p:nvSpPr>
          <p:cNvPr id="5" name="Plassholder for dato 4">
            <a:extLst>
              <a:ext uri="{FF2B5EF4-FFF2-40B4-BE49-F238E27FC236}">
                <a16:creationId xmlns:a16="http://schemas.microsoft.com/office/drawing/2014/main" id="{AF9189F2-90EA-8E91-C548-D83149ABBCEB}"/>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6" name="Plassholder for bunntekst 5">
            <a:extLst>
              <a:ext uri="{FF2B5EF4-FFF2-40B4-BE49-F238E27FC236}">
                <a16:creationId xmlns:a16="http://schemas.microsoft.com/office/drawing/2014/main" id="{260C1620-A883-B651-8150-B415FC34F17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DC0A9E3-377C-16F0-9402-9273CFB90EE4}"/>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innhold 2">
            <a:extLst>
              <a:ext uri="{FF2B5EF4-FFF2-40B4-BE49-F238E27FC236}">
                <a16:creationId xmlns:a16="http://schemas.microsoft.com/office/drawing/2014/main" id="{E957C6DE-F39A-9B71-CEB0-43167096BD53}"/>
              </a:ext>
            </a:extLst>
          </p:cNvPr>
          <p:cNvSpPr>
            <a:spLocks noGrp="1"/>
          </p:cNvSpPr>
          <p:nvPr>
            <p:ph idx="1"/>
          </p:nvPr>
        </p:nvSpPr>
        <p:spPr>
          <a:xfrm>
            <a:off x="508000"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22E42883-727C-D486-E333-4D1301749134}"/>
              </a:ext>
            </a:extLst>
          </p:cNvPr>
          <p:cNvSpPr>
            <a:spLocks noGrp="1"/>
          </p:cNvSpPr>
          <p:nvPr>
            <p:ph idx="13"/>
          </p:nvPr>
        </p:nvSpPr>
        <p:spPr>
          <a:xfrm>
            <a:off x="6256339" y="1702863"/>
            <a:ext cx="5427663" cy="4411132"/>
          </a:xfrm>
        </p:spPr>
        <p:txBody>
          <a:bodyPr tIns="14400"/>
          <a:lstStyle>
            <a:lvl1pPr>
              <a:defRPr sz="1920"/>
            </a:lvl1pPr>
            <a:lvl2pPr>
              <a:defRPr sz="1920"/>
            </a:lvl2pPr>
            <a:lvl3pPr>
              <a:defRPr sz="1540"/>
            </a:lvl3pPr>
            <a:lvl4pPr>
              <a:defRPr sz="1920"/>
            </a:lvl4pPr>
            <a:lvl5pPr>
              <a:defRPr sz="154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614005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23DA3595-0D76-FC7F-CE98-A2771164E21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4" name="Plassholder for bunntekst 3">
            <a:extLst>
              <a:ext uri="{FF2B5EF4-FFF2-40B4-BE49-F238E27FC236}">
                <a16:creationId xmlns:a16="http://schemas.microsoft.com/office/drawing/2014/main" id="{A8C16737-31A4-6AA3-36AE-0BE2577D127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C6A46AD8-B713-9AE7-6379-37F6049140CD}"/>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3102018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7999422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 bilder med bilde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6584"/>
            <a:ext cx="3513138" cy="1731243"/>
          </a:xfrm>
        </p:spPr>
        <p:txBody>
          <a:bodyPr/>
          <a:lstStyle>
            <a:lvl1pPr>
              <a:defRPr/>
            </a:lvl1p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4340225" y="973137"/>
            <a:ext cx="3511550" cy="2326745"/>
          </a:xfrm>
        </p:spPr>
        <p:txBody>
          <a:bodyPr/>
          <a:lstStyle>
            <a:lvl1pPr marL="0" indent="0" algn="ctr">
              <a:spcBef>
                <a:spcPts val="0"/>
              </a:spcBef>
              <a:buNone/>
              <a:defRPr sz="1230">
                <a:solidFill>
                  <a:schemeClr val="tx1">
                    <a:lumMod val="65000"/>
                    <a:lumOff val="35000"/>
                  </a:schemeClr>
                </a:solidFill>
              </a:defRPr>
            </a:lvl1pPr>
          </a:lstStyle>
          <a:p>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4340225"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bilde 9">
            <a:extLst>
              <a:ext uri="{FF2B5EF4-FFF2-40B4-BE49-F238E27FC236}">
                <a16:creationId xmlns:a16="http://schemas.microsoft.com/office/drawing/2014/main" id="{C1DF3A02-7D4E-E070-E8EB-0075CB3F8EB1}"/>
              </a:ext>
            </a:extLst>
          </p:cNvPr>
          <p:cNvSpPr>
            <a:spLocks noGrp="1"/>
          </p:cNvSpPr>
          <p:nvPr>
            <p:ph type="pic" sz="quarter" idx="15" hasCustomPrompt="1"/>
          </p:nvPr>
        </p:nvSpPr>
        <p:spPr>
          <a:xfrm>
            <a:off x="8172450" y="973137"/>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a:p>
            <a:endParaRPr lang="nb-NO"/>
          </a:p>
        </p:txBody>
      </p:sp>
      <p:sp>
        <p:nvSpPr>
          <p:cNvPr id="14" name="Plassholder for tekst 11">
            <a:extLst>
              <a:ext uri="{FF2B5EF4-FFF2-40B4-BE49-F238E27FC236}">
                <a16:creationId xmlns:a16="http://schemas.microsoft.com/office/drawing/2014/main" id="{675AED5A-19A5-C720-282C-E6944FFD3EFA}"/>
              </a:ext>
            </a:extLst>
          </p:cNvPr>
          <p:cNvSpPr>
            <a:spLocks noGrp="1"/>
          </p:cNvSpPr>
          <p:nvPr>
            <p:ph type="body" sz="quarter" idx="16"/>
          </p:nvPr>
        </p:nvSpPr>
        <p:spPr>
          <a:xfrm>
            <a:off x="8172450" y="3642359"/>
            <a:ext cx="3511550" cy="2471103"/>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024119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8000"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9">
            <a:extLst>
              <a:ext uri="{FF2B5EF4-FFF2-40B4-BE49-F238E27FC236}">
                <a16:creationId xmlns:a16="http://schemas.microsoft.com/office/drawing/2014/main" id="{178FC9FC-B6C5-844F-939E-C34C88C8FB6C}"/>
              </a:ext>
            </a:extLst>
          </p:cNvPr>
          <p:cNvSpPr>
            <a:spLocks noGrp="1"/>
          </p:cNvSpPr>
          <p:nvPr>
            <p:ph type="pic" sz="quarter" idx="15" hasCustomPrompt="1"/>
          </p:nvPr>
        </p:nvSpPr>
        <p:spPr>
          <a:xfrm>
            <a:off x="4340225"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1">
            <a:extLst>
              <a:ext uri="{FF2B5EF4-FFF2-40B4-BE49-F238E27FC236}">
                <a16:creationId xmlns:a16="http://schemas.microsoft.com/office/drawing/2014/main" id="{F795AA08-D323-D3BD-8F35-B592F8564267}"/>
              </a:ext>
            </a:extLst>
          </p:cNvPr>
          <p:cNvSpPr>
            <a:spLocks noGrp="1"/>
          </p:cNvSpPr>
          <p:nvPr>
            <p:ph type="body" sz="quarter" idx="16"/>
          </p:nvPr>
        </p:nvSpPr>
        <p:spPr>
          <a:xfrm>
            <a:off x="4339432"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bilde 9">
            <a:extLst>
              <a:ext uri="{FF2B5EF4-FFF2-40B4-BE49-F238E27FC236}">
                <a16:creationId xmlns:a16="http://schemas.microsoft.com/office/drawing/2014/main" id="{E5CA577E-B187-3AB4-4EE2-5F5A11CB7556}"/>
              </a:ext>
            </a:extLst>
          </p:cNvPr>
          <p:cNvSpPr>
            <a:spLocks noGrp="1"/>
          </p:cNvSpPr>
          <p:nvPr>
            <p:ph type="pic" sz="quarter" idx="17" hasCustomPrompt="1"/>
          </p:nvPr>
        </p:nvSpPr>
        <p:spPr>
          <a:xfrm>
            <a:off x="8170863"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6" name="Plassholder for tekst 11">
            <a:extLst>
              <a:ext uri="{FF2B5EF4-FFF2-40B4-BE49-F238E27FC236}">
                <a16:creationId xmlns:a16="http://schemas.microsoft.com/office/drawing/2014/main" id="{DFD2A434-BC93-65E7-DDCE-6A46FB4FA0BD}"/>
              </a:ext>
            </a:extLst>
          </p:cNvPr>
          <p:cNvSpPr>
            <a:spLocks noGrp="1"/>
          </p:cNvSpPr>
          <p:nvPr>
            <p:ph type="body" sz="quarter" idx="18"/>
          </p:nvPr>
        </p:nvSpPr>
        <p:spPr>
          <a:xfrm>
            <a:off x="8170863"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425081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720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bilde 9">
            <a:extLst>
              <a:ext uri="{FF2B5EF4-FFF2-40B4-BE49-F238E27FC236}">
                <a16:creationId xmlns:a16="http://schemas.microsoft.com/office/drawing/2014/main" id="{38168AA3-E5FC-A7FA-014A-A5985C6AFAF0}"/>
              </a:ext>
            </a:extLst>
          </p:cNvPr>
          <p:cNvSpPr>
            <a:spLocks noGrp="1"/>
          </p:cNvSpPr>
          <p:nvPr>
            <p:ph type="pic" sz="quarter" idx="15" hasCustomPrompt="1"/>
          </p:nvPr>
        </p:nvSpPr>
        <p:spPr>
          <a:xfrm>
            <a:off x="3381375"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3" name="Plassholder for tekst 11">
            <a:extLst>
              <a:ext uri="{FF2B5EF4-FFF2-40B4-BE49-F238E27FC236}">
                <a16:creationId xmlns:a16="http://schemas.microsoft.com/office/drawing/2014/main" id="{D9400DBA-EFA7-073E-1E7D-8AA730308537}"/>
              </a:ext>
            </a:extLst>
          </p:cNvPr>
          <p:cNvSpPr>
            <a:spLocks noGrp="1"/>
          </p:cNvSpPr>
          <p:nvPr>
            <p:ph type="body" sz="quarter" idx="16"/>
          </p:nvPr>
        </p:nvSpPr>
        <p:spPr>
          <a:xfrm>
            <a:off x="3381375"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bilde 9">
            <a:extLst>
              <a:ext uri="{FF2B5EF4-FFF2-40B4-BE49-F238E27FC236}">
                <a16:creationId xmlns:a16="http://schemas.microsoft.com/office/drawing/2014/main" id="{502E25AB-3C2F-9B65-2BDC-0B4AF5AAC703}"/>
              </a:ext>
            </a:extLst>
          </p:cNvPr>
          <p:cNvSpPr>
            <a:spLocks noGrp="1"/>
          </p:cNvSpPr>
          <p:nvPr>
            <p:ph type="pic" sz="quarter" idx="17" hasCustomPrompt="1"/>
          </p:nvPr>
        </p:nvSpPr>
        <p:spPr>
          <a:xfrm>
            <a:off x="625395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7" name="Plassholder for tekst 11">
            <a:extLst>
              <a:ext uri="{FF2B5EF4-FFF2-40B4-BE49-F238E27FC236}">
                <a16:creationId xmlns:a16="http://schemas.microsoft.com/office/drawing/2014/main" id="{E40226CB-A871-0683-4705-905DB53A2E39}"/>
              </a:ext>
            </a:extLst>
          </p:cNvPr>
          <p:cNvSpPr>
            <a:spLocks noGrp="1"/>
          </p:cNvSpPr>
          <p:nvPr>
            <p:ph type="body" sz="quarter" idx="18"/>
          </p:nvPr>
        </p:nvSpPr>
        <p:spPr>
          <a:xfrm>
            <a:off x="625395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8" name="Plassholder for bilde 9">
            <a:extLst>
              <a:ext uri="{FF2B5EF4-FFF2-40B4-BE49-F238E27FC236}">
                <a16:creationId xmlns:a16="http://schemas.microsoft.com/office/drawing/2014/main" id="{2DB17A83-A19E-8C81-FFF5-AA816B3ACCF0}"/>
              </a:ext>
            </a:extLst>
          </p:cNvPr>
          <p:cNvSpPr>
            <a:spLocks noGrp="1"/>
          </p:cNvSpPr>
          <p:nvPr>
            <p:ph type="pic" sz="quarter" idx="19" hasCustomPrompt="1"/>
          </p:nvPr>
        </p:nvSpPr>
        <p:spPr>
          <a:xfrm>
            <a:off x="9128919"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9" name="Plassholder for tekst 11">
            <a:extLst>
              <a:ext uri="{FF2B5EF4-FFF2-40B4-BE49-F238E27FC236}">
                <a16:creationId xmlns:a16="http://schemas.microsoft.com/office/drawing/2014/main" id="{4C1FF866-20B4-8662-65FF-DF45611372C6}"/>
              </a:ext>
            </a:extLst>
          </p:cNvPr>
          <p:cNvSpPr>
            <a:spLocks noGrp="1"/>
          </p:cNvSpPr>
          <p:nvPr>
            <p:ph type="body" sz="quarter" idx="20"/>
          </p:nvPr>
        </p:nvSpPr>
        <p:spPr>
          <a:xfrm>
            <a:off x="9128919"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067501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5A0B7BFA-E24C-73A4-7488-E6AF2D0E4B51}"/>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15596970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bg>
      <p:bgPr>
        <a:solidFill>
          <a:schemeClr val="tx1"/>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12192000" cy="6858000"/>
          </a:xfrm>
        </p:spPr>
        <p:txBody>
          <a:bodyPr/>
          <a:lstStyle>
            <a:lvl1pPr marL="0" indent="0" algn="ctr">
              <a:spcBef>
                <a:spcPts val="0"/>
              </a:spcBef>
              <a:buNone/>
              <a:defRPr sz="1230">
                <a:solidFill>
                  <a:schemeClr val="bg1">
                    <a:lumMod val="85000"/>
                  </a:schemeClr>
                </a:solidFill>
              </a:defRPr>
            </a:lvl1pPr>
          </a:lstStyle>
          <a:p>
            <a:pPr marL="0" marR="0" lvl="0" indent="0" algn="ctr" defTabSz="914400" rtl="0" eaLnBrk="1" fontAlgn="ctr" latinLnBrk="0" hangingPunct="1">
              <a:lnSpc>
                <a:spcPct val="100000"/>
              </a:lnSpc>
              <a:spcBef>
                <a:spcPts val="0"/>
              </a:spcBef>
              <a:spcAft>
                <a:spcPts val="0"/>
              </a:spcAft>
              <a:buClr>
                <a:schemeClr val="tx2"/>
              </a:buClr>
              <a:buSzTx/>
              <a:buFont typeface="Avenir Next LT Pro" panose="020B0504020202020204" pitchFamily="34" charset="0"/>
              <a:buNone/>
              <a:tabLst/>
              <a:defRPr/>
            </a:pPr>
            <a:r>
              <a:rPr lang="nb-NO" err="1"/>
              <a:t>Drainn</a:t>
            </a:r>
            <a:r>
              <a:rPr lang="nb-NO"/>
              <a:t>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br>
              <a:rPr lang="nb-NO"/>
            </a:br>
            <a:r>
              <a:rPr lang="nb-NO"/>
              <a:t>For </a:t>
            </a:r>
            <a:r>
              <a:rPr lang="nb-NO" err="1"/>
              <a:t>bedre</a:t>
            </a:r>
            <a:r>
              <a:rPr lang="nb-NO"/>
              <a:t> </a:t>
            </a:r>
            <a:r>
              <a:rPr lang="nb-NO" err="1"/>
              <a:t>lesbarhet</a:t>
            </a:r>
            <a:r>
              <a:rPr lang="nb-NO"/>
              <a:t>, </a:t>
            </a:r>
            <a:r>
              <a:rPr lang="nb-NO" err="1"/>
              <a:t>gjør</a:t>
            </a:r>
            <a:r>
              <a:rPr lang="nb-NO"/>
              <a:t> </a:t>
            </a:r>
            <a:r>
              <a:rPr lang="nb-NO" err="1"/>
              <a:t>bildet</a:t>
            </a:r>
            <a:r>
              <a:rPr lang="nb-NO"/>
              <a:t> </a:t>
            </a:r>
            <a:r>
              <a:rPr lang="nb-NO" err="1"/>
              <a:t>mørkere</a:t>
            </a:r>
            <a:r>
              <a:rPr lang="nb-NO"/>
              <a:t> </a:t>
            </a:r>
            <a:r>
              <a:rPr lang="nb-NO" err="1"/>
              <a:t>på</a:t>
            </a:r>
            <a:r>
              <a:rPr lang="nb-NO"/>
              <a:t> </a:t>
            </a:r>
            <a:r>
              <a:rPr lang="nb-NO" err="1"/>
              <a:t>Bildeformat-fanen</a:t>
            </a:r>
            <a:r>
              <a:rPr lang="nb-NO"/>
              <a:t> &gt; </a:t>
            </a:r>
            <a:r>
              <a:rPr lang="nb-NO" err="1"/>
              <a:t>Korrigeringer</a:t>
            </a:r>
            <a:r>
              <a:rPr lang="nb-NO"/>
              <a:t>. </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lumMod val="85000"/>
                  </a:schemeClr>
                </a:solid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lumMod val="85000"/>
                  </a:schemeClr>
                </a:solidFill>
              </a:defRPr>
            </a:lvl1pPr>
          </a:lstStyle>
          <a:p>
            <a:fld id="{BE2ACD00-28B2-4D17-A930-2C9F8441C7CA}" type="slidenum">
              <a:rPr lang="nb-NO" smtClean="0"/>
              <a:pPr/>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
        <p:nvSpPr>
          <p:cNvPr id="9" name="Tittel 1">
            <a:extLst>
              <a:ext uri="{FF2B5EF4-FFF2-40B4-BE49-F238E27FC236}">
                <a16:creationId xmlns:a16="http://schemas.microsoft.com/office/drawing/2014/main" id="{2A8A5D1E-CF78-027F-BF70-EA68A4EF52F1}"/>
              </a:ext>
            </a:extLst>
          </p:cNvPr>
          <p:cNvSpPr>
            <a:spLocks noGrp="1"/>
          </p:cNvSpPr>
          <p:nvPr>
            <p:ph type="ctrTitle"/>
          </p:nvPr>
        </p:nvSpPr>
        <p:spPr>
          <a:xfrm>
            <a:off x="1487489" y="2640815"/>
            <a:ext cx="9217024" cy="1443472"/>
          </a:xfrm>
        </p:spPr>
        <p:txBody>
          <a:bodyPr anchor="t" anchorCtr="0">
            <a:noAutofit/>
          </a:bodyPr>
          <a:lstStyle>
            <a:lvl1pPr algn="ctr">
              <a:lnSpc>
                <a:spcPct val="100000"/>
              </a:lnSpc>
              <a:defRPr sz="4690">
                <a:solidFill>
                  <a:schemeClr val="bg1"/>
                </a:solidFill>
              </a:defRPr>
            </a:lvl1pPr>
          </a:lstStyle>
          <a:p>
            <a:r>
              <a:rPr lang="nb-NO"/>
              <a:t>Klikk for å redigere tittelstil</a:t>
            </a:r>
          </a:p>
        </p:txBody>
      </p:sp>
      <p:sp>
        <p:nvSpPr>
          <p:cNvPr id="11" name="Undertittel 2">
            <a:extLst>
              <a:ext uri="{FF2B5EF4-FFF2-40B4-BE49-F238E27FC236}">
                <a16:creationId xmlns:a16="http://schemas.microsoft.com/office/drawing/2014/main" id="{644B20AE-75F5-CA81-5602-207D975A56AA}"/>
              </a:ext>
            </a:extLst>
          </p:cNvPr>
          <p:cNvSpPr>
            <a:spLocks noGrp="1"/>
          </p:cNvSpPr>
          <p:nvPr>
            <p:ph type="subTitle" idx="1" hasCustomPrompt="1"/>
          </p:nvPr>
        </p:nvSpPr>
        <p:spPr>
          <a:xfrm>
            <a:off x="3392488" y="5027944"/>
            <a:ext cx="5407025" cy="591806"/>
          </a:xfrm>
        </p:spPr>
        <p:txBody>
          <a:bodyPr>
            <a:noAutofit/>
          </a:bodyPr>
          <a:lstStyle>
            <a:lvl1pPr marL="0" indent="0" algn="ctr">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Undertittel</a:t>
            </a:r>
            <a:endParaRPr lang="nb-NO"/>
          </a:p>
        </p:txBody>
      </p:sp>
    </p:spTree>
    <p:extLst>
      <p:ext uri="{BB962C8B-B14F-4D97-AF65-F5344CB8AC3E}">
        <p14:creationId xmlns:p14="http://schemas.microsoft.com/office/powerpoint/2010/main" val="14228513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340349"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5472527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7212012" y="518584"/>
            <a:ext cx="4471988" cy="1154162"/>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7211218"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0" y="0"/>
            <a:ext cx="6851651" cy="685800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lumMod val="85000"/>
                  </a:schemeClr>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8" name="Symbol i plassholder">
            <a:extLst>
              <a:ext uri="{FF2B5EF4-FFF2-40B4-BE49-F238E27FC236}">
                <a16:creationId xmlns:a16="http://schemas.microsoft.com/office/drawing/2014/main" id="{1D1C2F15-6AA1-FB01-C955-1ED4E6A8642C}"/>
              </a:ext>
              <a:ext uri="{C183D7F6-B498-43B3-948B-1728B52AA6E4}">
                <adec:decorative xmlns:adec="http://schemas.microsoft.com/office/drawing/2017/decorative" val="1"/>
              </a:ext>
            </a:extLst>
          </p:cNvPr>
          <p:cNvSpPr>
            <a:spLocks noGrp="1"/>
          </p:cNvSpPr>
          <p:nvPr>
            <p:ph type="body" sz="quarter" idx="16"/>
          </p:nvPr>
        </p:nvSpPr>
        <p:spPr>
          <a:xfrm>
            <a:off x="482639" y="6298141"/>
            <a:ext cx="308517" cy="343036"/>
          </a:xfrm>
          <a:blipFill>
            <a:blip>
              <a:extLst>
                <a:ext uri="{96DAC541-7B7A-43D3-8B79-37D633B846F1}">
                  <asvg:svgBlip xmlns:asvg="http://schemas.microsoft.com/office/drawing/2016/SVG/main" r:embed="rId2"/>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394675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8000"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9">
            <a:extLst>
              <a:ext uri="{FF2B5EF4-FFF2-40B4-BE49-F238E27FC236}">
                <a16:creationId xmlns:a16="http://schemas.microsoft.com/office/drawing/2014/main" id="{178FC9FC-B6C5-844F-939E-C34C88C8FB6C}"/>
              </a:ext>
            </a:extLst>
          </p:cNvPr>
          <p:cNvSpPr>
            <a:spLocks noGrp="1"/>
          </p:cNvSpPr>
          <p:nvPr>
            <p:ph type="pic" sz="quarter" idx="15" hasCustomPrompt="1"/>
          </p:nvPr>
        </p:nvSpPr>
        <p:spPr>
          <a:xfrm>
            <a:off x="4340225"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1">
            <a:extLst>
              <a:ext uri="{FF2B5EF4-FFF2-40B4-BE49-F238E27FC236}">
                <a16:creationId xmlns:a16="http://schemas.microsoft.com/office/drawing/2014/main" id="{F795AA08-D323-D3BD-8F35-B592F8564267}"/>
              </a:ext>
            </a:extLst>
          </p:cNvPr>
          <p:cNvSpPr>
            <a:spLocks noGrp="1"/>
          </p:cNvSpPr>
          <p:nvPr>
            <p:ph type="body" sz="quarter" idx="16"/>
          </p:nvPr>
        </p:nvSpPr>
        <p:spPr>
          <a:xfrm>
            <a:off x="4339432"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bilde 9">
            <a:extLst>
              <a:ext uri="{FF2B5EF4-FFF2-40B4-BE49-F238E27FC236}">
                <a16:creationId xmlns:a16="http://schemas.microsoft.com/office/drawing/2014/main" id="{E5CA577E-B187-3AB4-4EE2-5F5A11CB7556}"/>
              </a:ext>
            </a:extLst>
          </p:cNvPr>
          <p:cNvSpPr>
            <a:spLocks noGrp="1"/>
          </p:cNvSpPr>
          <p:nvPr>
            <p:ph type="pic" sz="quarter" idx="17" hasCustomPrompt="1"/>
          </p:nvPr>
        </p:nvSpPr>
        <p:spPr>
          <a:xfrm>
            <a:off x="8170863" y="1693080"/>
            <a:ext cx="3511550" cy="2326745"/>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6" name="Plassholder for tekst 11">
            <a:extLst>
              <a:ext uri="{FF2B5EF4-FFF2-40B4-BE49-F238E27FC236}">
                <a16:creationId xmlns:a16="http://schemas.microsoft.com/office/drawing/2014/main" id="{DFD2A434-BC93-65E7-DDCE-6A46FB4FA0BD}"/>
              </a:ext>
            </a:extLst>
          </p:cNvPr>
          <p:cNvSpPr>
            <a:spLocks noGrp="1"/>
          </p:cNvSpPr>
          <p:nvPr>
            <p:ph type="body" sz="quarter" idx="18"/>
          </p:nvPr>
        </p:nvSpPr>
        <p:spPr>
          <a:xfrm>
            <a:off x="8170863" y="4362303"/>
            <a:ext cx="3511550" cy="1751160"/>
          </a:xfrm>
        </p:spPr>
        <p:txBody>
          <a:bodyPr/>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5846214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ndre bilde til høy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6"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4340225"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642009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indre bilde til venst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8170863" y="1027783"/>
            <a:ext cx="3513137"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8170069" y="4363891"/>
            <a:ext cx="3513931"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10" name="Plassholder for bilde 9">
            <a:extLst>
              <a:ext uri="{FF2B5EF4-FFF2-40B4-BE49-F238E27FC236}">
                <a16:creationId xmlns:a16="http://schemas.microsoft.com/office/drawing/2014/main" id="{C4DA07E9-12AA-824A-F200-80B3792B2545}"/>
              </a:ext>
            </a:extLst>
          </p:cNvPr>
          <p:cNvSpPr>
            <a:spLocks noGrp="1"/>
          </p:cNvSpPr>
          <p:nvPr>
            <p:ph type="pic" sz="quarter" idx="15" hasCustomPrompt="1"/>
          </p:nvPr>
        </p:nvSpPr>
        <p:spPr>
          <a:xfrm>
            <a:off x="508000" y="970280"/>
            <a:ext cx="7343775" cy="48971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40070146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508000" y="1027783"/>
            <a:ext cx="2554505" cy="1731243"/>
          </a:xfrm>
        </p:spPr>
        <p:txBody>
          <a:bodyPr>
            <a:noAutofit/>
          </a:bodyPr>
          <a:lstStyle>
            <a:lvl1pPr>
              <a:defRPr/>
            </a:lvl1pPr>
          </a:lstStyle>
          <a:p>
            <a:r>
              <a:rPr lang="nb-NO"/>
              <a:t>Klikk for å redigere tittelstil</a:t>
            </a:r>
          </a:p>
        </p:txBody>
      </p:sp>
      <p:sp>
        <p:nvSpPr>
          <p:cNvPr id="9" name="Plassholder for tekst 11">
            <a:extLst>
              <a:ext uri="{FF2B5EF4-FFF2-40B4-BE49-F238E27FC236}">
                <a16:creationId xmlns:a16="http://schemas.microsoft.com/office/drawing/2014/main" id="{ED00BD7B-8670-0F72-4C7F-A43269D3CE0D}"/>
              </a:ext>
            </a:extLst>
          </p:cNvPr>
          <p:cNvSpPr>
            <a:spLocks noGrp="1"/>
          </p:cNvSpPr>
          <p:nvPr>
            <p:ph type="body" sz="quarter" idx="14"/>
          </p:nvPr>
        </p:nvSpPr>
        <p:spPr>
          <a:xfrm>
            <a:off x="507207" y="4363891"/>
            <a:ext cx="2555082" cy="1263797"/>
          </a:xfrm>
        </p:spPr>
        <p:txBody>
          <a:bodyPr anchor="b" anchorCtr="0"/>
          <a:lstStyle>
            <a:lvl1pPr marL="0" indent="0">
              <a:buNone/>
              <a:defRPr sz="1540"/>
            </a:lvl1pPr>
            <a:lvl2pPr>
              <a:defRPr sz="1540"/>
            </a:lvl2pPr>
            <a:lvl3pPr>
              <a:defRPr sz="1280"/>
            </a:lvl3pPr>
            <a:lvl4pPr>
              <a:defRPr sz="1540"/>
            </a:lvl4pPr>
            <a:lvl5pPr>
              <a:defRPr sz="1280"/>
            </a:lvl5pPr>
          </a:lstStyle>
          <a:p>
            <a:pPr lvl="0"/>
            <a:r>
              <a:rPr lang="nb-NO"/>
              <a:t>Klikk for å redigere tekststiler i malen</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1" name="Plassholder for media 10">
            <a:extLst>
              <a:ext uri="{FF2B5EF4-FFF2-40B4-BE49-F238E27FC236}">
                <a16:creationId xmlns:a16="http://schemas.microsoft.com/office/drawing/2014/main" id="{1738FBB7-0743-D037-4309-B255C61E5514}"/>
              </a:ext>
            </a:extLst>
          </p:cNvPr>
          <p:cNvSpPr>
            <a:spLocks noGrp="1" noChangeAspect="1"/>
          </p:cNvSpPr>
          <p:nvPr>
            <p:ph type="media" sz="quarter" idx="15"/>
          </p:nvPr>
        </p:nvSpPr>
        <p:spPr>
          <a:xfrm>
            <a:off x="3381374" y="965199"/>
            <a:ext cx="8302626" cy="4670227"/>
          </a:xfrm>
        </p:spPr>
        <p:txBody>
          <a:bodyPr/>
          <a:lstStyle>
            <a:lvl1pPr marL="0" indent="0" algn="ctr">
              <a:buNone/>
              <a:defRPr sz="1280">
                <a:solidFill>
                  <a:schemeClr val="tx1">
                    <a:lumMod val="65000"/>
                    <a:lumOff val="35000"/>
                  </a:schemeClr>
                </a:solidFill>
              </a:defRPr>
            </a:lvl1pPr>
          </a:lstStyle>
          <a:p>
            <a:r>
              <a:rPr lang="nb-NO"/>
              <a:t>Klikk ikonet for å legge til media</a:t>
            </a:r>
          </a:p>
        </p:txBody>
      </p:sp>
    </p:spTree>
    <p:extLst>
      <p:ext uri="{BB962C8B-B14F-4D97-AF65-F5344CB8AC3E}">
        <p14:creationId xmlns:p14="http://schemas.microsoft.com/office/powerpoint/2010/main" val="34811406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redragsholder">
    <p:spTree>
      <p:nvGrpSpPr>
        <p:cNvPr id="1" name=""/>
        <p:cNvGrpSpPr/>
        <p:nvPr/>
      </p:nvGrpSpPr>
      <p:grpSpPr>
        <a:xfrm>
          <a:off x="0" y="0"/>
          <a:ext cx="0" cy="0"/>
          <a:chOff x="0" y="0"/>
          <a:chExt cx="0" cy="0"/>
        </a:xfrm>
      </p:grpSpPr>
      <p:pic>
        <p:nvPicPr>
          <p:cNvPr id="20" name="Bakgrunn">
            <a:extLst>
              <a:ext uri="{FF2B5EF4-FFF2-40B4-BE49-F238E27FC236}">
                <a16:creationId xmlns:a16="http://schemas.microsoft.com/office/drawing/2014/main" id="{0D809F8B-6594-DDA9-E6B3-F959C1247D72}"/>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2" name="Tittel 1">
            <a:extLst>
              <a:ext uri="{FF2B5EF4-FFF2-40B4-BE49-F238E27FC236}">
                <a16:creationId xmlns:a16="http://schemas.microsoft.com/office/drawing/2014/main" id="{18852FBA-A3B8-96BF-7F56-D7EEA9A53067}"/>
              </a:ext>
            </a:extLst>
          </p:cNvPr>
          <p:cNvSpPr>
            <a:spLocks noGrp="1"/>
          </p:cNvSpPr>
          <p:nvPr>
            <p:ph type="title" hasCustomPrompt="1"/>
          </p:nvPr>
        </p:nvSpPr>
        <p:spPr>
          <a:xfrm>
            <a:off x="6254750" y="2527089"/>
            <a:ext cx="5429250" cy="461665"/>
          </a:xfrm>
        </p:spPr>
        <p:txBody>
          <a:bodyPr anchor="t" anchorCtr="0">
            <a:spAutoFit/>
          </a:bodyPr>
          <a:lstStyle>
            <a:lvl1pPr>
              <a:defRPr sz="3000"/>
            </a:lvl1pPr>
          </a:lstStyle>
          <a:p>
            <a:r>
              <a:rPr lang="nb-NO"/>
              <a:t>Navn </a:t>
            </a:r>
            <a:r>
              <a:rPr lang="nb-NO" err="1"/>
              <a:t>Navnesen</a:t>
            </a:r>
            <a:endParaRPr lang="nb-NO"/>
          </a:p>
        </p:txBody>
      </p:sp>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16" name="Plassholder for tekst 12">
            <a:extLst>
              <a:ext uri="{FF2B5EF4-FFF2-40B4-BE49-F238E27FC236}">
                <a16:creationId xmlns:a16="http://schemas.microsoft.com/office/drawing/2014/main" id="{1AFAF5EF-6891-F098-DD34-B1594D40AE88}"/>
              </a:ext>
            </a:extLst>
          </p:cNvPr>
          <p:cNvSpPr>
            <a:spLocks noGrp="1"/>
          </p:cNvSpPr>
          <p:nvPr>
            <p:ph type="body" sz="quarter" idx="14" hasCustomPrompt="1"/>
          </p:nvPr>
        </p:nvSpPr>
        <p:spPr>
          <a:xfrm>
            <a:off x="6254750" y="4192057"/>
            <a:ext cx="5429250" cy="295466"/>
          </a:xfrm>
        </p:spPr>
        <p:txBody>
          <a:bodyPr anchor="t" anchorCtr="0">
            <a:noAutofit/>
          </a:bodyPr>
          <a:lstStyle>
            <a:lvl1pPr marL="0" indent="0">
              <a:buNone/>
              <a:defRPr sz="1920"/>
            </a:lvl1pPr>
            <a:lvl2pPr marL="457200" indent="0">
              <a:buNone/>
              <a:defRPr sz="1920"/>
            </a:lvl2pPr>
            <a:lvl3pPr>
              <a:defRPr sz="1920"/>
            </a:lvl3pPr>
          </a:lstStyle>
          <a:p>
            <a:pPr lvl="0"/>
            <a:r>
              <a:rPr lang="nb-NO"/>
              <a:t>Stillingstittel</a:t>
            </a:r>
          </a:p>
        </p:txBody>
      </p:sp>
      <p:sp>
        <p:nvSpPr>
          <p:cNvPr id="13" name="Plassholder for tekst 12">
            <a:extLst>
              <a:ext uri="{FF2B5EF4-FFF2-40B4-BE49-F238E27FC236}">
                <a16:creationId xmlns:a16="http://schemas.microsoft.com/office/drawing/2014/main" id="{3292A660-80D8-0E34-F830-E39EF64189BE}"/>
              </a:ext>
            </a:extLst>
          </p:cNvPr>
          <p:cNvSpPr>
            <a:spLocks noGrp="1"/>
          </p:cNvSpPr>
          <p:nvPr>
            <p:ph type="body" sz="quarter" idx="13" hasCustomPrompt="1"/>
          </p:nvPr>
        </p:nvSpPr>
        <p:spPr>
          <a:xfrm>
            <a:off x="6254750" y="4737099"/>
            <a:ext cx="5429250" cy="634685"/>
          </a:xfrm>
        </p:spPr>
        <p:txBody>
          <a:bodyPr anchor="t" anchorCtr="0"/>
          <a:lstStyle>
            <a:lvl1pPr marL="0" indent="0">
              <a:buNone/>
              <a:defRPr sz="1920"/>
            </a:lvl1pPr>
            <a:lvl2pPr marL="457200" indent="0">
              <a:buNone/>
              <a:defRPr sz="1920"/>
            </a:lvl2pPr>
            <a:lvl3pPr>
              <a:defRPr sz="1920"/>
            </a:lvl3pPr>
          </a:lstStyle>
          <a:p>
            <a:pPr lvl="0"/>
            <a:r>
              <a:rPr lang="nb-NO"/>
              <a:t>Kontaktinformasjon</a:t>
            </a:r>
          </a:p>
        </p:txBody>
      </p:sp>
      <p:sp>
        <p:nvSpPr>
          <p:cNvPr id="17" name="Plassholder for bilde 9">
            <a:extLst>
              <a:ext uri="{FF2B5EF4-FFF2-40B4-BE49-F238E27FC236}">
                <a16:creationId xmlns:a16="http://schemas.microsoft.com/office/drawing/2014/main" id="{DBCD7D44-0F84-E966-4A88-2A40FF606102}"/>
              </a:ext>
            </a:extLst>
          </p:cNvPr>
          <p:cNvSpPr>
            <a:spLocks noGrp="1"/>
          </p:cNvSpPr>
          <p:nvPr>
            <p:ph type="pic" sz="quarter" idx="15" hasCustomPrompt="1"/>
          </p:nvPr>
        </p:nvSpPr>
        <p:spPr>
          <a:xfrm>
            <a:off x="1803399" y="633414"/>
            <a:ext cx="3492501" cy="4704820"/>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7857310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re personer">
    <p:spTree>
      <p:nvGrpSpPr>
        <p:cNvPr id="1" name=""/>
        <p:cNvGrpSpPr/>
        <p:nvPr/>
      </p:nvGrpSpPr>
      <p:grpSpPr>
        <a:xfrm>
          <a:off x="0" y="0"/>
          <a:ext cx="0" cy="0"/>
          <a:chOff x="0" y="0"/>
          <a:chExt cx="0" cy="0"/>
        </a:xfrm>
      </p:grpSpPr>
      <p:pic>
        <p:nvPicPr>
          <p:cNvPr id="2" name="Bakgrunn">
            <a:extLst>
              <a:ext uri="{FF2B5EF4-FFF2-40B4-BE49-F238E27FC236}">
                <a16:creationId xmlns:a16="http://schemas.microsoft.com/office/drawing/2014/main" id="{82A16B8F-E0C8-9D9B-AD8A-4C0B7A2C319B}"/>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0" y="0"/>
            <a:ext cx="12153900" cy="6857999"/>
          </a:xfrm>
          <a:prstGeom prst="rect">
            <a:avLst/>
          </a:prstGeom>
        </p:spPr>
      </p:pic>
      <p:sp>
        <p:nvSpPr>
          <p:cNvPr id="3" name="Plassholder for bunntekst 2">
            <a:extLst>
              <a:ext uri="{FF2B5EF4-FFF2-40B4-BE49-F238E27FC236}">
                <a16:creationId xmlns:a16="http://schemas.microsoft.com/office/drawing/2014/main" id="{11F06FF5-6B2F-676A-23A0-44A1DDB97F43}"/>
              </a:ext>
            </a:extLst>
          </p:cNvPr>
          <p:cNvSpPr>
            <a:spLocks noGrp="1"/>
          </p:cNvSpPr>
          <p:nvPr>
            <p:ph type="ftr" sz="quarter" idx="10"/>
          </p:nvPr>
        </p:nvSpPr>
        <p:spPr/>
        <p:txBody>
          <a:bodyPr/>
          <a:lstStyle/>
          <a:p>
            <a:endParaRPr lang="nb-NO"/>
          </a:p>
        </p:txBody>
      </p:sp>
      <p:sp>
        <p:nvSpPr>
          <p:cNvPr id="4" name="Plassholder for dato 3">
            <a:extLst>
              <a:ext uri="{FF2B5EF4-FFF2-40B4-BE49-F238E27FC236}">
                <a16:creationId xmlns:a16="http://schemas.microsoft.com/office/drawing/2014/main" id="{ECB9BEE7-EBA8-44B9-F7A0-B0799D7B76F0}"/>
              </a:ext>
            </a:extLst>
          </p:cNvPr>
          <p:cNvSpPr>
            <a:spLocks noGrp="1"/>
          </p:cNvSpPr>
          <p:nvPr>
            <p:ph type="dt" sz="half" idx="11"/>
          </p:nvPr>
        </p:nvSpPr>
        <p:spPr/>
        <p:txBody>
          <a:bodyPr/>
          <a:lstStyle/>
          <a:p>
            <a:fld id="{E6A610A8-4EE9-470C-972D-0E41A2C50444}" type="datetimeFigureOut">
              <a:rPr lang="nb-NO" smtClean="0"/>
              <a:pPr/>
              <a:t>14.03.2026</a:t>
            </a:fld>
            <a:endParaRPr lang="nb-NO"/>
          </a:p>
        </p:txBody>
      </p:sp>
      <p:sp>
        <p:nvSpPr>
          <p:cNvPr id="5" name="Plassholder for lysbildenummer 4">
            <a:extLst>
              <a:ext uri="{FF2B5EF4-FFF2-40B4-BE49-F238E27FC236}">
                <a16:creationId xmlns:a16="http://schemas.microsoft.com/office/drawing/2014/main" id="{F69F72AC-FA8C-1D8F-86A1-862D7963936D}"/>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8" name="Plassholder for bilde 9">
            <a:extLst>
              <a:ext uri="{FF2B5EF4-FFF2-40B4-BE49-F238E27FC236}">
                <a16:creationId xmlns:a16="http://schemas.microsoft.com/office/drawing/2014/main" id="{34B5D24B-2800-CAC2-4CEF-AB454968D407}"/>
              </a:ext>
            </a:extLst>
          </p:cNvPr>
          <p:cNvSpPr>
            <a:spLocks noGrp="1"/>
          </p:cNvSpPr>
          <p:nvPr>
            <p:ph type="pic" sz="quarter" idx="13" hasCustomPrompt="1"/>
          </p:nvPr>
        </p:nvSpPr>
        <p:spPr>
          <a:xfrm>
            <a:off x="50800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B6D436D9-203D-126A-E0B1-20ADEE3C0AB2}"/>
              </a:ext>
            </a:extLst>
          </p:cNvPr>
          <p:cNvSpPr>
            <a:spLocks noGrp="1"/>
          </p:cNvSpPr>
          <p:nvPr>
            <p:ph type="body" sz="quarter" idx="14" hasCustomPrompt="1"/>
          </p:nvPr>
        </p:nvSpPr>
        <p:spPr>
          <a:xfrm>
            <a:off x="50800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14" name="Plassholder for tekst 11">
            <a:extLst>
              <a:ext uri="{FF2B5EF4-FFF2-40B4-BE49-F238E27FC236}">
                <a16:creationId xmlns:a16="http://schemas.microsoft.com/office/drawing/2014/main" id="{60667DA7-070B-41A5-B209-DA5076EDE606}"/>
              </a:ext>
            </a:extLst>
          </p:cNvPr>
          <p:cNvSpPr>
            <a:spLocks noGrp="1"/>
          </p:cNvSpPr>
          <p:nvPr>
            <p:ph type="body" sz="quarter" idx="15" hasCustomPrompt="1"/>
          </p:nvPr>
        </p:nvSpPr>
        <p:spPr>
          <a:xfrm>
            <a:off x="50800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15" name="Plassholder for bilde 9">
            <a:extLst>
              <a:ext uri="{FF2B5EF4-FFF2-40B4-BE49-F238E27FC236}">
                <a16:creationId xmlns:a16="http://schemas.microsoft.com/office/drawing/2014/main" id="{5F961436-BA38-F2E0-FB61-51E6CC2393C9}"/>
              </a:ext>
            </a:extLst>
          </p:cNvPr>
          <p:cNvSpPr>
            <a:spLocks noGrp="1"/>
          </p:cNvSpPr>
          <p:nvPr>
            <p:ph type="pic" sz="quarter" idx="16" hasCustomPrompt="1"/>
          </p:nvPr>
        </p:nvSpPr>
        <p:spPr>
          <a:xfrm>
            <a:off x="4340225"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8" name="Plassholder for tekst 11">
            <a:extLst>
              <a:ext uri="{FF2B5EF4-FFF2-40B4-BE49-F238E27FC236}">
                <a16:creationId xmlns:a16="http://schemas.microsoft.com/office/drawing/2014/main" id="{8AE45EFD-26BB-B0EF-1689-F0FA533FFD0F}"/>
              </a:ext>
            </a:extLst>
          </p:cNvPr>
          <p:cNvSpPr>
            <a:spLocks noGrp="1"/>
          </p:cNvSpPr>
          <p:nvPr>
            <p:ph type="body" sz="quarter" idx="17" hasCustomPrompt="1"/>
          </p:nvPr>
        </p:nvSpPr>
        <p:spPr>
          <a:xfrm>
            <a:off x="4340225"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0" name="Plassholder for tekst 11">
            <a:extLst>
              <a:ext uri="{FF2B5EF4-FFF2-40B4-BE49-F238E27FC236}">
                <a16:creationId xmlns:a16="http://schemas.microsoft.com/office/drawing/2014/main" id="{C1F1B68C-C2B7-7609-C1AC-0B39FEC6EF71}"/>
              </a:ext>
            </a:extLst>
          </p:cNvPr>
          <p:cNvSpPr>
            <a:spLocks noGrp="1"/>
          </p:cNvSpPr>
          <p:nvPr>
            <p:ph type="body" sz="quarter" idx="18" hasCustomPrompt="1"/>
          </p:nvPr>
        </p:nvSpPr>
        <p:spPr>
          <a:xfrm>
            <a:off x="4340225"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1" name="Plassholder for bilde 9">
            <a:extLst>
              <a:ext uri="{FF2B5EF4-FFF2-40B4-BE49-F238E27FC236}">
                <a16:creationId xmlns:a16="http://schemas.microsoft.com/office/drawing/2014/main" id="{49325E17-F243-8A88-B31D-25EEB02C1FF4}"/>
              </a:ext>
            </a:extLst>
          </p:cNvPr>
          <p:cNvSpPr>
            <a:spLocks noGrp="1"/>
          </p:cNvSpPr>
          <p:nvPr>
            <p:ph type="pic" sz="quarter" idx="19" hasCustomPrompt="1"/>
          </p:nvPr>
        </p:nvSpPr>
        <p:spPr>
          <a:xfrm>
            <a:off x="8172450" y="1083002"/>
            <a:ext cx="3511550" cy="2617912"/>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22" name="Plassholder for tekst 11">
            <a:extLst>
              <a:ext uri="{FF2B5EF4-FFF2-40B4-BE49-F238E27FC236}">
                <a16:creationId xmlns:a16="http://schemas.microsoft.com/office/drawing/2014/main" id="{8B3E09C6-E5BC-1FCA-BB1E-D332DD1A31C1}"/>
              </a:ext>
            </a:extLst>
          </p:cNvPr>
          <p:cNvSpPr>
            <a:spLocks noGrp="1"/>
          </p:cNvSpPr>
          <p:nvPr>
            <p:ph type="body" sz="quarter" idx="20" hasCustomPrompt="1"/>
          </p:nvPr>
        </p:nvSpPr>
        <p:spPr>
          <a:xfrm>
            <a:off x="8172450" y="3867151"/>
            <a:ext cx="3513138" cy="590931"/>
          </a:xfrm>
        </p:spPr>
        <p:txBody>
          <a:bodyPr>
            <a:noAutofit/>
          </a:bodyPr>
          <a:lstStyle>
            <a:lvl1pPr marL="0" indent="0">
              <a:spcBef>
                <a:spcPts val="0"/>
              </a:spcBef>
              <a:buNone/>
              <a:defRPr sz="1920">
                <a:solidFill>
                  <a:schemeClr val="tx2"/>
                </a:solidFill>
                <a:latin typeface="+mj-lt"/>
              </a:defRPr>
            </a:lvl1pPr>
          </a:lstStyle>
          <a:p>
            <a:pPr lvl="0"/>
            <a:r>
              <a:rPr lang="nb-NO"/>
              <a:t>Navn </a:t>
            </a:r>
            <a:r>
              <a:rPr lang="nb-NO" err="1"/>
              <a:t>Navnesen</a:t>
            </a:r>
            <a:endParaRPr lang="nb-NO"/>
          </a:p>
        </p:txBody>
      </p:sp>
      <p:sp>
        <p:nvSpPr>
          <p:cNvPr id="23" name="Plassholder for tekst 11">
            <a:extLst>
              <a:ext uri="{FF2B5EF4-FFF2-40B4-BE49-F238E27FC236}">
                <a16:creationId xmlns:a16="http://schemas.microsoft.com/office/drawing/2014/main" id="{59CFA003-DD32-BD68-7492-1BAF7AF1AACA}"/>
              </a:ext>
            </a:extLst>
          </p:cNvPr>
          <p:cNvSpPr>
            <a:spLocks noGrp="1"/>
          </p:cNvSpPr>
          <p:nvPr>
            <p:ph type="body" sz="quarter" idx="21" hasCustomPrompt="1"/>
          </p:nvPr>
        </p:nvSpPr>
        <p:spPr>
          <a:xfrm>
            <a:off x="8172450" y="4569978"/>
            <a:ext cx="3513138" cy="1544018"/>
          </a:xfrm>
        </p:spPr>
        <p:txBody>
          <a:bodyPr/>
          <a:lstStyle>
            <a:lvl1pPr marL="0" indent="0">
              <a:buNone/>
              <a:defRPr sz="1540">
                <a:solidFill>
                  <a:schemeClr val="tx2"/>
                </a:solidFill>
                <a:latin typeface="+mn-lt"/>
              </a:defRPr>
            </a:lvl1pPr>
          </a:lstStyle>
          <a:p>
            <a:pPr lvl="0"/>
            <a:r>
              <a:rPr lang="nb-NO" err="1"/>
              <a:t>Informasjon</a:t>
            </a:r>
            <a:r>
              <a:rPr lang="nb-NO"/>
              <a:t> </a:t>
            </a:r>
            <a:r>
              <a:rPr lang="nb-NO" err="1"/>
              <a:t>og</a:t>
            </a:r>
            <a:r>
              <a:rPr lang="nb-NO"/>
              <a:t> </a:t>
            </a:r>
            <a:r>
              <a:rPr lang="nb-NO" err="1"/>
              <a:t>kontakt</a:t>
            </a:r>
            <a:endParaRPr lang="nb-NO"/>
          </a:p>
        </p:txBody>
      </p:sp>
      <p:sp>
        <p:nvSpPr>
          <p:cNvPr id="24" name="Tittel 1">
            <a:extLst>
              <a:ext uri="{FF2B5EF4-FFF2-40B4-BE49-F238E27FC236}">
                <a16:creationId xmlns:a16="http://schemas.microsoft.com/office/drawing/2014/main" id="{4F6D96B2-9305-A690-7BEA-E8F2EBD13A7C}"/>
              </a:ext>
            </a:extLst>
          </p:cNvPr>
          <p:cNvSpPr>
            <a:spLocks noGrp="1"/>
          </p:cNvSpPr>
          <p:nvPr>
            <p:ph type="title" hasCustomPrompt="1"/>
          </p:nvPr>
        </p:nvSpPr>
        <p:spPr>
          <a:xfrm>
            <a:off x="528638" y="-560859"/>
            <a:ext cx="10515600" cy="462434"/>
          </a:xfrm>
        </p:spPr>
        <p:txBody>
          <a:bodyPr anchor="b" anchorCtr="0">
            <a:normAutofit/>
          </a:bodyPr>
          <a:lstStyle>
            <a:lvl1pPr>
              <a:defRPr sz="2600"/>
            </a:lvl1pPr>
          </a:lstStyle>
          <a:p>
            <a:r>
              <a:rPr lang="nb-NO"/>
              <a:t>Tittel for universell utforming</a:t>
            </a:r>
          </a:p>
        </p:txBody>
      </p:sp>
    </p:spTree>
    <p:extLst>
      <p:ext uri="{BB962C8B-B14F-4D97-AF65-F5344CB8AC3E}">
        <p14:creationId xmlns:p14="http://schemas.microsoft.com/office/powerpoint/2010/main" val="17745127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69006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n-NO" sz="3200" b="0" i="0" baseline="0">
              <a:solidFill>
                <a:srgbClr val="FFFFFF"/>
              </a:solidFill>
              <a:latin typeface="+mn-lt"/>
              <a:ea typeface="+mn-ea"/>
              <a:cs typeface="+mn-cs"/>
              <a:sym typeface="Trebuchet MS" panose="020B0603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nn-NO" sz="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ea typeface="+mn-ea"/>
                <a:cs typeface="+mn-cs"/>
                <a:sym typeface="Trebuchet MS" panose="020B0603020202020204" pitchFamily="34" charset="0"/>
              </a:defRPr>
            </a:lvl1pPr>
          </a:lstStyle>
          <a:p>
            <a:endParaRPr lang="nn-NO"/>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rgbClr val="ED9300"/>
                </a:solidFill>
                <a:latin typeface="+mj-lt"/>
                <a:ea typeface="+mj-ea"/>
                <a:cs typeface="+mj-cs"/>
                <a:sym typeface="Trebuchet MS" panose="020B0603020202020204" pitchFamily="34" charset="0"/>
              </a:defRPr>
            </a:lvl1pPr>
          </a:lstStyle>
          <a:p>
            <a:r>
              <a:rPr lang="nn-NO"/>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endParaRPr lang="nn-NO"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759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76475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ea typeface="+mn-ea"/>
                <a:cs typeface="+mn-cs"/>
                <a:sym typeface="Trebuchet MS" panose="020B0603020202020204" pitchFamily="34" charset="0"/>
              </a:defRPr>
            </a:lvl1pPr>
          </a:lstStyle>
          <a:p>
            <a:endParaRPr lang="nn-NO"/>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endParaRPr lang="nn-NO"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35070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B937F-B4E4-4D38-B9AE-ECCB527C97EB}"/>
              </a:ext>
            </a:extLst>
          </p:cNvPr>
          <p:cNvSpPr>
            <a:spLocks noGrp="1"/>
          </p:cNvSpPr>
          <p:nvPr>
            <p:ph type="sldNum" sz="quarter" idx="16"/>
          </p:nvPr>
        </p:nvSpPr>
        <p:spPr/>
        <p:txBody>
          <a:bodyPr/>
          <a:lstStyle/>
          <a:p>
            <a:fld id="{261FDEBC-E42D-42D0-B9CA-24127F1B2280}" type="slidenum">
              <a:rPr lang="nb-NO" noProof="0" smtClean="0"/>
              <a:pPr/>
              <a:t>‹#›</a:t>
            </a:fld>
            <a:endParaRPr lang="nb-NO" noProof="0"/>
          </a:p>
        </p:txBody>
      </p:sp>
      <p:sp>
        <p:nvSpPr>
          <p:cNvPr id="4" name="Title 3">
            <a:extLst>
              <a:ext uri="{FF2B5EF4-FFF2-40B4-BE49-F238E27FC236}">
                <a16:creationId xmlns:a16="http://schemas.microsoft.com/office/drawing/2014/main" id="{5054ACC8-2946-4D2A-9C31-A49E6D48BEE1}"/>
              </a:ext>
            </a:extLst>
          </p:cNvPr>
          <p:cNvSpPr>
            <a:spLocks noGrp="1"/>
          </p:cNvSpPr>
          <p:nvPr>
            <p:ph type="title"/>
          </p:nvPr>
        </p:nvSpPr>
        <p:spPr/>
        <p:txBody>
          <a:body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sp>
        <p:nvSpPr>
          <p:cNvPr id="6" name="Content Placeholder 5">
            <a:extLst>
              <a:ext uri="{FF2B5EF4-FFF2-40B4-BE49-F238E27FC236}">
                <a16:creationId xmlns:a16="http://schemas.microsoft.com/office/drawing/2014/main" id="{611A7EBB-3399-4893-B2ED-2AB5528D3477}"/>
              </a:ext>
            </a:extLst>
          </p:cNvPr>
          <p:cNvSpPr>
            <a:spLocks noGrp="1"/>
          </p:cNvSpPr>
          <p:nvPr>
            <p:ph sz="quarter" idx="17"/>
          </p:nvPr>
        </p:nvSpPr>
        <p:spPr>
          <a:xfrm>
            <a:off x="839788" y="2097088"/>
            <a:ext cx="10514012" cy="4103687"/>
          </a:xfrm>
        </p:spPr>
        <p:txBody>
          <a:bodyPr/>
          <a:lstStyle/>
          <a:p>
            <a:pPr lvl="0"/>
            <a:r>
              <a:rPr lang="nb-NO" noProof="0" err="1"/>
              <a:t>Click</a:t>
            </a:r>
            <a:r>
              <a:rPr lang="nb-NO" noProof="0"/>
              <a:t> to </a:t>
            </a:r>
            <a:r>
              <a:rPr lang="nb-NO" noProof="0" err="1"/>
              <a:t>edit</a:t>
            </a:r>
            <a:r>
              <a:rPr lang="nb-NO" noProof="0"/>
              <a:t> Master </a:t>
            </a:r>
            <a:r>
              <a:rPr lang="nb-NO" noProof="0" err="1"/>
              <a:t>text</a:t>
            </a:r>
            <a:r>
              <a:rPr lang="nb-NO" noProof="0"/>
              <a:t> styles</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7" name="Text Placeholder 6">
            <a:extLst>
              <a:ext uri="{FF2B5EF4-FFF2-40B4-BE49-F238E27FC236}">
                <a16:creationId xmlns:a16="http://schemas.microsoft.com/office/drawing/2014/main" id="{13FDA777-9394-43C9-8CC2-A99E170B0927}"/>
              </a:ext>
            </a:extLst>
          </p:cNvPr>
          <p:cNvSpPr>
            <a:spLocks noGrp="1"/>
          </p:cNvSpPr>
          <p:nvPr>
            <p:ph type="body" sz="quarter" idx="18"/>
          </p:nvPr>
        </p:nvSpPr>
        <p:spPr>
          <a:xfrm>
            <a:off x="839788" y="1304925"/>
            <a:ext cx="10512425" cy="608014"/>
          </a:xfrm>
        </p:spPr>
        <p:txBody>
          <a:bodyPr>
            <a:normAutofit/>
          </a:bodyPr>
          <a:lstStyle>
            <a:lvl1pPr marL="0" indent="0">
              <a:buNone/>
              <a:defRPr sz="2800" b="0">
                <a:solidFill>
                  <a:schemeClr val="tx2"/>
                </a:solidFill>
                <a:latin typeface="Inter SemiBold" panose="020B0502030000000004" pitchFamily="34" charset="0"/>
                <a:ea typeface="Inter SemiBold" panose="020B0502030000000004" pitchFamily="34" charset="0"/>
              </a:defRPr>
            </a:lvl1pPr>
          </a:lstStyle>
          <a:p>
            <a:pPr lvl="0"/>
            <a:r>
              <a:rPr lang="nb-NO" noProof="0" err="1"/>
              <a:t>Click</a:t>
            </a:r>
            <a:r>
              <a:rPr lang="nb-NO" noProof="0"/>
              <a:t> to </a:t>
            </a:r>
            <a:r>
              <a:rPr lang="nb-NO" noProof="0" err="1"/>
              <a:t>edit</a:t>
            </a:r>
            <a:r>
              <a:rPr lang="nb-NO" noProof="0"/>
              <a:t> Master </a:t>
            </a:r>
            <a:r>
              <a:rPr lang="nb-NO" noProof="0" err="1"/>
              <a:t>text</a:t>
            </a:r>
            <a:r>
              <a:rPr lang="nb-NO" noProof="0"/>
              <a:t> styles</a:t>
            </a:r>
          </a:p>
        </p:txBody>
      </p:sp>
    </p:spTree>
    <p:extLst>
      <p:ext uri="{BB962C8B-B14F-4D97-AF65-F5344CB8AC3E}">
        <p14:creationId xmlns:p14="http://schemas.microsoft.com/office/powerpoint/2010/main" val="38619409"/>
      </p:ext>
    </p:extLst>
  </p:cSld>
  <p:clrMapOvr>
    <a:masterClrMapping/>
  </p:clrMapOvr>
  <p:extLst>
    <p:ext uri="{DCECCB84-F9BA-43D5-87BE-67443E8EF086}">
      <p15:sldGuideLst xmlns:p15="http://schemas.microsoft.com/office/powerpoint/2012/main">
        <p15:guide id="1" orient="horz" pos="82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orside A">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7001823"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bg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pic>
        <p:nvPicPr>
          <p:cNvPr id="14" name="Grafisk element">
            <a:extLst>
              <a:ext uri="{FF2B5EF4-FFF2-40B4-BE49-F238E27FC236}">
                <a16:creationId xmlns:a16="http://schemas.microsoft.com/office/drawing/2014/main" id="{E7DA99B6-0C96-681A-A63F-E33B8818D126}"/>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128125" y="394585"/>
            <a:ext cx="3063875" cy="6068829"/>
          </a:xfrm>
          <a:prstGeom prst="rect">
            <a:avLst/>
          </a:prstGeom>
        </p:spPr>
      </p:pic>
    </p:spTree>
    <p:extLst>
      <p:ext uri="{BB962C8B-B14F-4D97-AF65-F5344CB8AC3E}">
        <p14:creationId xmlns:p14="http://schemas.microsoft.com/office/powerpoint/2010/main" val="1496980263"/>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Forside B">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bg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pic>
        <p:nvPicPr>
          <p:cNvPr id="11" name="Grafikk 10">
            <a:extLst>
              <a:ext uri="{FF2B5EF4-FFF2-40B4-BE49-F238E27FC236}">
                <a16:creationId xmlns:a16="http://schemas.microsoft.com/office/drawing/2014/main" id="{34942D5E-76E0-DE10-15CD-77DF4659DFC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7185660" y="638097"/>
            <a:ext cx="5006340" cy="5568410"/>
          </a:xfrm>
          <a:prstGeom prst="rect">
            <a:avLst/>
          </a:prstGeom>
        </p:spPr>
      </p:pic>
    </p:spTree>
    <p:extLst>
      <p:ext uri="{BB962C8B-B14F-4D97-AF65-F5344CB8AC3E}">
        <p14:creationId xmlns:p14="http://schemas.microsoft.com/office/powerpoint/2010/main" val="4220854932"/>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re bilder med bildetekst">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43E91DA8-A892-808D-4127-A9D5DF158029}"/>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E6A610A8-4EE9-470C-972D-0E41A2C50444}" type="datetimeFigureOut">
              <a:rPr lang="nb-NO" smtClean="0"/>
              <a:t>14.03.2026</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0" name="Plassholder for bilde 9">
            <a:extLst>
              <a:ext uri="{FF2B5EF4-FFF2-40B4-BE49-F238E27FC236}">
                <a16:creationId xmlns:a16="http://schemas.microsoft.com/office/drawing/2014/main" id="{7694785E-F7E9-D6D2-286A-EBDE6AC2AC21}"/>
              </a:ext>
            </a:extLst>
          </p:cNvPr>
          <p:cNvSpPr>
            <a:spLocks noGrp="1"/>
          </p:cNvSpPr>
          <p:nvPr>
            <p:ph type="pic" sz="quarter" idx="13" hasCustomPrompt="1"/>
          </p:nvPr>
        </p:nvSpPr>
        <p:spPr>
          <a:xfrm>
            <a:off x="50720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tekst 11">
            <a:extLst>
              <a:ext uri="{FF2B5EF4-FFF2-40B4-BE49-F238E27FC236}">
                <a16:creationId xmlns:a16="http://schemas.microsoft.com/office/drawing/2014/main" id="{CE46297F-5A06-E573-F56D-185ED77AFC8C}"/>
              </a:ext>
            </a:extLst>
          </p:cNvPr>
          <p:cNvSpPr>
            <a:spLocks noGrp="1"/>
          </p:cNvSpPr>
          <p:nvPr>
            <p:ph type="body" sz="quarter" idx="14"/>
          </p:nvPr>
        </p:nvSpPr>
        <p:spPr>
          <a:xfrm>
            <a:off x="50720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bilde 9">
            <a:extLst>
              <a:ext uri="{FF2B5EF4-FFF2-40B4-BE49-F238E27FC236}">
                <a16:creationId xmlns:a16="http://schemas.microsoft.com/office/drawing/2014/main" id="{38168AA3-E5FC-A7FA-014A-A5985C6AFAF0}"/>
              </a:ext>
            </a:extLst>
          </p:cNvPr>
          <p:cNvSpPr>
            <a:spLocks noGrp="1"/>
          </p:cNvSpPr>
          <p:nvPr>
            <p:ph type="pic" sz="quarter" idx="15" hasCustomPrompt="1"/>
          </p:nvPr>
        </p:nvSpPr>
        <p:spPr>
          <a:xfrm>
            <a:off x="3381375"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3" name="Plassholder for tekst 11">
            <a:extLst>
              <a:ext uri="{FF2B5EF4-FFF2-40B4-BE49-F238E27FC236}">
                <a16:creationId xmlns:a16="http://schemas.microsoft.com/office/drawing/2014/main" id="{D9400DBA-EFA7-073E-1E7D-8AA730308537}"/>
              </a:ext>
            </a:extLst>
          </p:cNvPr>
          <p:cNvSpPr>
            <a:spLocks noGrp="1"/>
          </p:cNvSpPr>
          <p:nvPr>
            <p:ph type="body" sz="quarter" idx="16"/>
          </p:nvPr>
        </p:nvSpPr>
        <p:spPr>
          <a:xfrm>
            <a:off x="3381375"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bilde 9">
            <a:extLst>
              <a:ext uri="{FF2B5EF4-FFF2-40B4-BE49-F238E27FC236}">
                <a16:creationId xmlns:a16="http://schemas.microsoft.com/office/drawing/2014/main" id="{502E25AB-3C2F-9B65-2BDC-0B4AF5AAC703}"/>
              </a:ext>
            </a:extLst>
          </p:cNvPr>
          <p:cNvSpPr>
            <a:spLocks noGrp="1"/>
          </p:cNvSpPr>
          <p:nvPr>
            <p:ph type="pic" sz="quarter" idx="17" hasCustomPrompt="1"/>
          </p:nvPr>
        </p:nvSpPr>
        <p:spPr>
          <a:xfrm>
            <a:off x="6253957"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7" name="Plassholder for tekst 11">
            <a:extLst>
              <a:ext uri="{FF2B5EF4-FFF2-40B4-BE49-F238E27FC236}">
                <a16:creationId xmlns:a16="http://schemas.microsoft.com/office/drawing/2014/main" id="{E40226CB-A871-0683-4705-905DB53A2E39}"/>
              </a:ext>
            </a:extLst>
          </p:cNvPr>
          <p:cNvSpPr>
            <a:spLocks noGrp="1"/>
          </p:cNvSpPr>
          <p:nvPr>
            <p:ph type="body" sz="quarter" idx="18"/>
          </p:nvPr>
        </p:nvSpPr>
        <p:spPr>
          <a:xfrm>
            <a:off x="6253957"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8" name="Plassholder for bilde 9">
            <a:extLst>
              <a:ext uri="{FF2B5EF4-FFF2-40B4-BE49-F238E27FC236}">
                <a16:creationId xmlns:a16="http://schemas.microsoft.com/office/drawing/2014/main" id="{2DB17A83-A19E-8C81-FFF5-AA816B3ACCF0}"/>
              </a:ext>
            </a:extLst>
          </p:cNvPr>
          <p:cNvSpPr>
            <a:spLocks noGrp="1"/>
          </p:cNvSpPr>
          <p:nvPr>
            <p:ph type="pic" sz="quarter" idx="19" hasCustomPrompt="1"/>
          </p:nvPr>
        </p:nvSpPr>
        <p:spPr>
          <a:xfrm>
            <a:off x="9128919" y="2046540"/>
            <a:ext cx="2555081" cy="1692991"/>
          </a:xfrm>
        </p:spPr>
        <p:txBody>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
        <p:nvSpPr>
          <p:cNvPr id="19" name="Plassholder for tekst 11">
            <a:extLst>
              <a:ext uri="{FF2B5EF4-FFF2-40B4-BE49-F238E27FC236}">
                <a16:creationId xmlns:a16="http://schemas.microsoft.com/office/drawing/2014/main" id="{4C1FF866-20B4-8662-65FF-DF45611372C6}"/>
              </a:ext>
            </a:extLst>
          </p:cNvPr>
          <p:cNvSpPr>
            <a:spLocks noGrp="1"/>
          </p:cNvSpPr>
          <p:nvPr>
            <p:ph type="body" sz="quarter" idx="20"/>
          </p:nvPr>
        </p:nvSpPr>
        <p:spPr>
          <a:xfrm>
            <a:off x="9128919" y="4038087"/>
            <a:ext cx="2555081" cy="1751160"/>
          </a:xfrm>
        </p:spPr>
        <p:txBody>
          <a:bodyPr/>
          <a:lstStyle>
            <a:lvl1pPr marL="0" indent="0">
              <a:spcBef>
                <a:spcPts val="500"/>
              </a:spcBef>
              <a:buNone/>
              <a:defRPr sz="1280"/>
            </a:lvl1pPr>
            <a:lvl2pPr>
              <a:defRPr sz="1280"/>
            </a:lvl2pPr>
            <a:lvl3pPr>
              <a:defRPr sz="1280"/>
            </a:lvl3pPr>
            <a:lvl4pPr>
              <a:defRPr sz="1280"/>
            </a:lvl4pPr>
            <a:lvl5pPr>
              <a:defRPr sz="128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925628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Forside C">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bg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sp>
        <p:nvSpPr>
          <p:cNvPr id="16" name="Plassholder for bilde 15">
            <a:extLst>
              <a:ext uri="{FF2B5EF4-FFF2-40B4-BE49-F238E27FC236}">
                <a16:creationId xmlns:a16="http://schemas.microsoft.com/office/drawing/2014/main" id="{5E6BD0A8-0073-11FF-5CF8-7C6A99E909DA}"/>
              </a:ext>
            </a:extLst>
          </p:cNvPr>
          <p:cNvSpPr>
            <a:spLocks noGrp="1"/>
          </p:cNvSpPr>
          <p:nvPr>
            <p:ph type="pic" sz="quarter" idx="15" hasCustomPrompt="1"/>
          </p:nvPr>
        </p:nvSpPr>
        <p:spPr>
          <a:xfrm>
            <a:off x="7157965" y="0"/>
            <a:ext cx="5034036" cy="6858000"/>
          </a:xfrm>
          <a:custGeom>
            <a:avLst/>
            <a:gdLst>
              <a:gd name="connsiteX0" fmla="*/ 1348431 w 5034036"/>
              <a:gd name="connsiteY0" fmla="*/ 0 h 6858000"/>
              <a:gd name="connsiteX1" fmla="*/ 5034036 w 5034036"/>
              <a:gd name="connsiteY1" fmla="*/ 0 h 6858000"/>
              <a:gd name="connsiteX2" fmla="*/ 5034036 w 5034036"/>
              <a:gd name="connsiteY2" fmla="*/ 6858000 h 6858000"/>
              <a:gd name="connsiteX3" fmla="*/ 1348431 w 5034036"/>
              <a:gd name="connsiteY3" fmla="*/ 6858000 h 6858000"/>
              <a:gd name="connsiteX4" fmla="*/ 0 w 5034036"/>
              <a:gd name="connsiteY4" fmla="*/ 3429000 h 6858000"/>
              <a:gd name="connsiteX5" fmla="*/ 1348431 w 503403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4036" h="6858000">
                <a:moveTo>
                  <a:pt x="1348431" y="0"/>
                </a:moveTo>
                <a:lnTo>
                  <a:pt x="5034036" y="0"/>
                </a:lnTo>
                <a:lnTo>
                  <a:pt x="5034036" y="6858000"/>
                </a:lnTo>
                <a:lnTo>
                  <a:pt x="1348431" y="6858000"/>
                </a:lnTo>
                <a:cubicBezTo>
                  <a:pt x="511782" y="5959145"/>
                  <a:pt x="0" y="4753838"/>
                  <a:pt x="0" y="3429000"/>
                </a:cubicBezTo>
                <a:cubicBezTo>
                  <a:pt x="0" y="2104160"/>
                  <a:pt x="511782" y="898857"/>
                  <a:pt x="1348431" y="0"/>
                </a:cubicBezTo>
                <a:close/>
              </a:path>
            </a:pathLst>
          </a:custGeom>
        </p:spPr>
        <p:txBody>
          <a:bodyPr wrap="square" lIns="1656000">
            <a:noAutofit/>
          </a:bodyPr>
          <a:lstStyle>
            <a:lvl1pPr marL="0" indent="0" algn="ctr">
              <a:buNone/>
              <a:defRPr sz="1230">
                <a:solidFill>
                  <a:schemeClr val="bg1">
                    <a:lumMod val="8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2910008340"/>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orside D">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accent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508002" y="632489"/>
            <a:ext cx="1904996" cy="499790"/>
          </a:xfrm>
          <a:prstGeom prst="rect">
            <a:avLst/>
          </a:prstGeom>
        </p:spPr>
      </p:pic>
      <p:pic>
        <p:nvPicPr>
          <p:cNvPr id="7" name="Grafisk element">
            <a:extLst>
              <a:ext uri="{FF2B5EF4-FFF2-40B4-BE49-F238E27FC236}">
                <a16:creationId xmlns:a16="http://schemas.microsoft.com/office/drawing/2014/main" id="{BE33651C-4F2A-CD16-74D1-2EA2A1928603}"/>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9128125" y="394585"/>
            <a:ext cx="3063874" cy="6068829"/>
          </a:xfrm>
          <a:prstGeom prst="rect">
            <a:avLst/>
          </a:prstGeom>
        </p:spPr>
      </p:pic>
    </p:spTree>
    <p:extLst>
      <p:ext uri="{BB962C8B-B14F-4D97-AF65-F5344CB8AC3E}">
        <p14:creationId xmlns:p14="http://schemas.microsoft.com/office/powerpoint/2010/main" val="3821320090"/>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orside E">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accent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508002" y="632489"/>
            <a:ext cx="1904996" cy="499790"/>
          </a:xfrm>
          <a:prstGeom prst="rect">
            <a:avLst/>
          </a:prstGeom>
        </p:spPr>
      </p:pic>
      <p:pic>
        <p:nvPicPr>
          <p:cNvPr id="11" name="Grafikk 10">
            <a:extLst>
              <a:ext uri="{FF2B5EF4-FFF2-40B4-BE49-F238E27FC236}">
                <a16:creationId xmlns:a16="http://schemas.microsoft.com/office/drawing/2014/main" id="{34942D5E-76E0-DE10-15CD-77DF4659DFC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7185660" y="644633"/>
            <a:ext cx="5006340" cy="5555338"/>
          </a:xfrm>
          <a:prstGeom prst="rect">
            <a:avLst/>
          </a:prstGeom>
        </p:spPr>
      </p:pic>
    </p:spTree>
    <p:extLst>
      <p:ext uri="{BB962C8B-B14F-4D97-AF65-F5344CB8AC3E}">
        <p14:creationId xmlns:p14="http://schemas.microsoft.com/office/powerpoint/2010/main" val="2573106390"/>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orside F">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1487488" y="4869659"/>
            <a:ext cx="5407025" cy="640276"/>
          </a:xfrm>
        </p:spPr>
        <p:txBody>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nb-NO"/>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6057904"/>
            <a:ext cx="5407025" cy="236988"/>
          </a:xfrm>
        </p:spPr>
        <p:txBody>
          <a:bodyPr anchor="b" anchorCtr="0">
            <a:noAutofit/>
          </a:bodyPr>
          <a:lstStyle>
            <a:lvl1pPr marL="0" indent="0">
              <a:buNone/>
              <a:defRPr sz="1540">
                <a:solidFill>
                  <a:schemeClr val="accent1"/>
                </a:solidFill>
              </a:defRPr>
            </a:lvl1pPr>
          </a:lstStyle>
          <a:p>
            <a:pPr lvl="0"/>
            <a:r>
              <a:rPr lang="nb-NO"/>
              <a:t>Dato/sted</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508002" y="632489"/>
            <a:ext cx="1904996" cy="499790"/>
          </a:xfrm>
          <a:prstGeom prst="rect">
            <a:avLst/>
          </a:prstGeom>
        </p:spPr>
      </p:pic>
      <p:sp>
        <p:nvSpPr>
          <p:cNvPr id="16" name="Plassholder for bilde 15">
            <a:extLst>
              <a:ext uri="{FF2B5EF4-FFF2-40B4-BE49-F238E27FC236}">
                <a16:creationId xmlns:a16="http://schemas.microsoft.com/office/drawing/2014/main" id="{5E6BD0A8-0073-11FF-5CF8-7C6A99E909DA}"/>
              </a:ext>
            </a:extLst>
          </p:cNvPr>
          <p:cNvSpPr>
            <a:spLocks noGrp="1"/>
          </p:cNvSpPr>
          <p:nvPr>
            <p:ph type="pic" sz="quarter" idx="15" hasCustomPrompt="1"/>
          </p:nvPr>
        </p:nvSpPr>
        <p:spPr>
          <a:xfrm>
            <a:off x="7157965" y="0"/>
            <a:ext cx="5034036" cy="6858000"/>
          </a:xfrm>
          <a:custGeom>
            <a:avLst/>
            <a:gdLst>
              <a:gd name="connsiteX0" fmla="*/ 1348431 w 5034036"/>
              <a:gd name="connsiteY0" fmla="*/ 0 h 6858000"/>
              <a:gd name="connsiteX1" fmla="*/ 5034036 w 5034036"/>
              <a:gd name="connsiteY1" fmla="*/ 0 h 6858000"/>
              <a:gd name="connsiteX2" fmla="*/ 5034036 w 5034036"/>
              <a:gd name="connsiteY2" fmla="*/ 6858000 h 6858000"/>
              <a:gd name="connsiteX3" fmla="*/ 1348431 w 5034036"/>
              <a:gd name="connsiteY3" fmla="*/ 6858000 h 6858000"/>
              <a:gd name="connsiteX4" fmla="*/ 0 w 5034036"/>
              <a:gd name="connsiteY4" fmla="*/ 3429000 h 6858000"/>
              <a:gd name="connsiteX5" fmla="*/ 1348431 w 503403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4036" h="6858000">
                <a:moveTo>
                  <a:pt x="1348431" y="0"/>
                </a:moveTo>
                <a:lnTo>
                  <a:pt x="5034036" y="0"/>
                </a:lnTo>
                <a:lnTo>
                  <a:pt x="5034036" y="6858000"/>
                </a:lnTo>
                <a:lnTo>
                  <a:pt x="1348431" y="6858000"/>
                </a:lnTo>
                <a:cubicBezTo>
                  <a:pt x="511782" y="5959145"/>
                  <a:pt x="0" y="4753838"/>
                  <a:pt x="0" y="3429000"/>
                </a:cubicBezTo>
                <a:cubicBezTo>
                  <a:pt x="0" y="2104160"/>
                  <a:pt x="511782" y="898857"/>
                  <a:pt x="1348431" y="0"/>
                </a:cubicBezTo>
                <a:close/>
              </a:path>
            </a:pathLst>
          </a:custGeom>
        </p:spPr>
        <p:txBody>
          <a:bodyPr wrap="square" lIns="1656000">
            <a:noAutofit/>
          </a:bodyPr>
          <a:lstStyle>
            <a:lvl1pPr marL="0" indent="0" algn="ctr">
              <a:buNone/>
              <a:defRPr sz="1230">
                <a:solidFill>
                  <a:schemeClr val="tx1">
                    <a:lumMod val="65000"/>
                    <a:lumOff val="35000"/>
                  </a:schemeClr>
                </a:solidFill>
              </a:defRPr>
            </a:lvl1pPr>
          </a:lstStyle>
          <a:p>
            <a:pPr marL="0" marR="0" lvl="0" indent="0" algn="ctr" defTabSz="914400" rtl="0" eaLnBrk="1" fontAlgn="ctr" latinLnBrk="0" hangingPunct="1">
              <a:lnSpc>
                <a:spcPct val="100000"/>
              </a:lnSpc>
              <a:spcBef>
                <a:spcPts val="1000"/>
              </a:spcBef>
              <a:spcAft>
                <a:spcPts val="0"/>
              </a:spcAft>
              <a:buClr>
                <a:schemeClr val="tx2"/>
              </a:buClr>
              <a:buSzTx/>
              <a:buFont typeface="Avenir Next LT Pro" panose="020B0504020202020204" pitchFamily="34" charset="0"/>
              <a:buNone/>
              <a:tabLst/>
              <a:defRPr/>
            </a:pPr>
            <a:r>
              <a:rPr lang="nb-NO" err="1"/>
              <a:t>Klikk</a:t>
            </a:r>
            <a:r>
              <a:rPr lang="nb-NO"/>
              <a:t> </a:t>
            </a:r>
            <a:r>
              <a:rPr lang="nb-NO" err="1"/>
              <a:t>på</a:t>
            </a:r>
            <a:r>
              <a:rPr lang="nb-NO"/>
              <a:t> </a:t>
            </a:r>
            <a:r>
              <a:rPr lang="nb-NO" err="1"/>
              <a:t>ikonet</a:t>
            </a:r>
            <a:r>
              <a:rPr lang="nb-NO"/>
              <a:t>, </a:t>
            </a:r>
            <a:r>
              <a:rPr lang="nb-NO" err="1"/>
              <a:t>dra</a:t>
            </a:r>
            <a:r>
              <a:rPr lang="nb-NO"/>
              <a:t> inn </a:t>
            </a:r>
            <a:r>
              <a:rPr lang="nb-NO" err="1"/>
              <a:t>en</a:t>
            </a:r>
            <a:r>
              <a:rPr lang="nb-NO"/>
              <a:t> </a:t>
            </a:r>
            <a:r>
              <a:rPr lang="nb-NO" err="1"/>
              <a:t>bildefil</a:t>
            </a:r>
            <a:r>
              <a:rPr lang="nb-NO"/>
              <a:t> </a:t>
            </a:r>
            <a:r>
              <a:rPr lang="nb-NO" err="1"/>
              <a:t>eller</a:t>
            </a:r>
            <a:r>
              <a:rPr lang="nb-NO"/>
              <a:t> </a:t>
            </a:r>
            <a:r>
              <a:rPr lang="nb-NO" err="1"/>
              <a:t>gå</a:t>
            </a:r>
            <a:r>
              <a:rPr lang="nb-NO"/>
              <a:t> </a:t>
            </a:r>
            <a:r>
              <a:rPr lang="nb-NO" err="1"/>
              <a:t>til</a:t>
            </a:r>
            <a:r>
              <a:rPr lang="nb-NO"/>
              <a:t> Sett inn-</a:t>
            </a:r>
            <a:r>
              <a:rPr lang="nb-NO" err="1"/>
              <a:t>fanen</a:t>
            </a:r>
            <a:r>
              <a:rPr lang="nb-NO"/>
              <a:t> &gt; Bilder for å </a:t>
            </a:r>
            <a:r>
              <a:rPr lang="nb-NO" err="1"/>
              <a:t>legge</a:t>
            </a:r>
            <a:r>
              <a:rPr lang="nb-NO"/>
              <a:t> </a:t>
            </a:r>
            <a:r>
              <a:rPr lang="nb-NO" err="1"/>
              <a:t>til</a:t>
            </a:r>
            <a:r>
              <a:rPr lang="nb-NO"/>
              <a:t> et </a:t>
            </a:r>
            <a:r>
              <a:rPr lang="nb-NO" err="1"/>
              <a:t>bilde</a:t>
            </a:r>
            <a:r>
              <a:rPr lang="nb-NO"/>
              <a:t>. </a:t>
            </a:r>
            <a:br>
              <a:rPr lang="nb-NO"/>
            </a:br>
            <a:r>
              <a:rPr lang="nb-NO"/>
              <a:t>Juster </a:t>
            </a:r>
            <a:r>
              <a:rPr lang="nb-NO" err="1"/>
              <a:t>utsnitte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3042351956"/>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bg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487488" y="4869659"/>
            <a:ext cx="5407025" cy="295466"/>
          </a:xfrm>
        </p:spPr>
        <p:txBody>
          <a:bodyPr>
            <a:noAutofit/>
          </a:bodyPr>
          <a:lstStyle>
            <a:lvl1pPr marL="0" indent="0" algn="l">
              <a:buNone/>
              <a:defRPr sz="192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5262659"/>
            <a:ext cx="5407025" cy="850803"/>
          </a:xfrm>
        </p:spPr>
        <p:txBody>
          <a:bodyPr anchor="t" anchorCtr="0">
            <a:noAutofit/>
          </a:bodyPr>
          <a:lstStyle>
            <a:lvl1pPr marL="0" indent="0">
              <a:spcBef>
                <a:spcPts val="0"/>
              </a:spcBef>
              <a:buNone/>
              <a:defRPr sz="1540">
                <a:solidFill>
                  <a:schemeClr val="bg1"/>
                </a:solidFill>
              </a:defRPr>
            </a:lvl1pPr>
          </a:lstStyle>
          <a:p>
            <a:pPr lvl="0"/>
            <a:r>
              <a:rPr lang="nb-NO"/>
              <a:t>Kontaktinformasjon</a:t>
            </a:r>
          </a:p>
        </p:txBody>
      </p:sp>
      <p:pic>
        <p:nvPicPr>
          <p:cNvPr id="12" name="Logo" descr="Riksrevisjonen logo">
            <a:extLst>
              <a:ext uri="{FF2B5EF4-FFF2-40B4-BE49-F238E27FC236}">
                <a16:creationId xmlns:a16="http://schemas.microsoft.com/office/drawing/2014/main" id="{34C658A6-D505-0E2B-448C-1E6ADBF9166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08000" y="632489"/>
            <a:ext cx="1905000" cy="499790"/>
          </a:xfrm>
          <a:prstGeom prst="rect">
            <a:avLst/>
          </a:prstGeom>
        </p:spPr>
      </p:pic>
      <p:pic>
        <p:nvPicPr>
          <p:cNvPr id="11" name="Grafikk 10">
            <a:extLst>
              <a:ext uri="{FF2B5EF4-FFF2-40B4-BE49-F238E27FC236}">
                <a16:creationId xmlns:a16="http://schemas.microsoft.com/office/drawing/2014/main" id="{34942D5E-76E0-DE10-15CD-77DF4659DFC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7185660" y="638097"/>
            <a:ext cx="5006340" cy="5568410"/>
          </a:xfrm>
          <a:prstGeom prst="rect">
            <a:avLst/>
          </a:prstGeom>
        </p:spPr>
      </p:pic>
    </p:spTree>
    <p:extLst>
      <p:ext uri="{BB962C8B-B14F-4D97-AF65-F5344CB8AC3E}">
        <p14:creationId xmlns:p14="http://schemas.microsoft.com/office/powerpoint/2010/main" val="3644741873"/>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vslutning B">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487488" y="2545565"/>
            <a:ext cx="5407025" cy="1443472"/>
          </a:xfrm>
        </p:spPr>
        <p:txBody>
          <a:bodyPr anchor="t" anchorCtr="0">
            <a:noAutofit/>
          </a:bodyPr>
          <a:lstStyle>
            <a:lvl1pPr algn="l">
              <a:lnSpc>
                <a:spcPct val="100000"/>
              </a:lnSpc>
              <a:defRPr sz="4690">
                <a:solidFill>
                  <a:schemeClr val="accent1"/>
                </a:solidFill>
              </a:defRPr>
            </a:lvl1pPr>
          </a:lstStyle>
          <a:p>
            <a:endParaRPr lang="nb-NO"/>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487488" y="4869659"/>
            <a:ext cx="5407025" cy="295466"/>
          </a:xfrm>
        </p:spPr>
        <p:txBody>
          <a:bodyPr>
            <a:noAutofit/>
          </a:bodyPr>
          <a:lstStyle>
            <a:lvl1pPr marL="0" indent="0" algn="l">
              <a:buNone/>
              <a:defRPr sz="192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sp>
        <p:nvSpPr>
          <p:cNvPr id="10" name="Plassholder for tekst 9">
            <a:extLst>
              <a:ext uri="{FF2B5EF4-FFF2-40B4-BE49-F238E27FC236}">
                <a16:creationId xmlns:a16="http://schemas.microsoft.com/office/drawing/2014/main" id="{463D3420-29D8-265B-6EA9-59C760FC1F83}"/>
              </a:ext>
            </a:extLst>
          </p:cNvPr>
          <p:cNvSpPr>
            <a:spLocks noGrp="1"/>
          </p:cNvSpPr>
          <p:nvPr>
            <p:ph type="body" sz="quarter" idx="13" hasCustomPrompt="1"/>
          </p:nvPr>
        </p:nvSpPr>
        <p:spPr>
          <a:xfrm>
            <a:off x="1487488" y="5262659"/>
            <a:ext cx="5407025" cy="850803"/>
          </a:xfrm>
        </p:spPr>
        <p:txBody>
          <a:bodyPr anchor="t" anchorCtr="0">
            <a:noAutofit/>
          </a:bodyPr>
          <a:lstStyle>
            <a:lvl1pPr marL="0" indent="0">
              <a:spcBef>
                <a:spcPts val="0"/>
              </a:spcBef>
              <a:buNone/>
              <a:defRPr sz="1540">
                <a:solidFill>
                  <a:schemeClr val="accent1"/>
                </a:solidFill>
              </a:defRPr>
            </a:lvl1pPr>
          </a:lstStyle>
          <a:p>
            <a:pPr lvl="0"/>
            <a:r>
              <a:rPr lang="nb-NO"/>
              <a:t>Kontaktinformasjon</a:t>
            </a:r>
          </a:p>
        </p:txBody>
      </p:sp>
      <p:pic>
        <p:nvPicPr>
          <p:cNvPr id="7" name="Grafikk 6">
            <a:extLst>
              <a:ext uri="{FF2B5EF4-FFF2-40B4-BE49-F238E27FC236}">
                <a16:creationId xmlns:a16="http://schemas.microsoft.com/office/drawing/2014/main" id="{9C92AE82-1D1A-AFB6-93B6-0BB3C89A122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7185660" y="644633"/>
            <a:ext cx="5006340" cy="5555338"/>
          </a:xfrm>
          <a:prstGeom prst="rect">
            <a:avLst/>
          </a:prstGeom>
        </p:spPr>
      </p:pic>
      <p:pic>
        <p:nvPicPr>
          <p:cNvPr id="8" name="Logo" descr="Riksrevisjonen logo">
            <a:extLst>
              <a:ext uri="{FF2B5EF4-FFF2-40B4-BE49-F238E27FC236}">
                <a16:creationId xmlns:a16="http://schemas.microsoft.com/office/drawing/2014/main" id="{C657E82C-E330-FE2B-3258-EE893A5C8B21}"/>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rcRect/>
          <a:stretch/>
        </p:blipFill>
        <p:spPr>
          <a:xfrm>
            <a:off x="508002" y="632489"/>
            <a:ext cx="1904996" cy="499790"/>
          </a:xfrm>
          <a:prstGeom prst="rect">
            <a:avLst/>
          </a:prstGeom>
        </p:spPr>
      </p:pic>
    </p:spTree>
    <p:extLst>
      <p:ext uri="{BB962C8B-B14F-4D97-AF65-F5344CB8AC3E}">
        <p14:creationId xmlns:p14="http://schemas.microsoft.com/office/powerpoint/2010/main" val="2042016642"/>
      </p:ext>
    </p:extLst>
  </p:cSld>
  <p:clrMapOvr>
    <a:masterClrMapping/>
  </p:clrMapOvr>
  <p:extLst>
    <p:ext uri="{DCECCB84-F9BA-43D5-87BE-67443E8EF086}">
      <p15:sldGuideLst xmlns:p15="http://schemas.microsoft.com/office/powerpoint/2012/main">
        <p15:guide id="3"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Logo A">
    <p:bg>
      <p:bgPr>
        <a:solidFill>
          <a:schemeClr val="accent1"/>
        </a:solidFill>
        <a:effectLst/>
      </p:bgPr>
    </p:bg>
    <p:spTree>
      <p:nvGrpSpPr>
        <p:cNvPr id="1" name=""/>
        <p:cNvGrpSpPr/>
        <p:nvPr/>
      </p:nvGrpSpPr>
      <p:grpSpPr>
        <a:xfrm>
          <a:off x="0" y="0"/>
          <a:ext cx="0" cy="0"/>
          <a:chOff x="0" y="0"/>
          <a:chExt cx="0" cy="0"/>
        </a:xfrm>
      </p:grpSpPr>
      <p:pic>
        <p:nvPicPr>
          <p:cNvPr id="14" name="Bakgrunn">
            <a:extLst>
              <a:ext uri="{FF2B5EF4-FFF2-40B4-BE49-F238E27FC236}">
                <a16:creationId xmlns:a16="http://schemas.microsoft.com/office/drawing/2014/main" id="{997B31AB-09C7-735A-AF4C-E77E431009D3}"/>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0" y="0"/>
            <a:ext cx="12166600" cy="6858000"/>
          </a:xfrm>
          <a:prstGeom prst="rect">
            <a:avLst/>
          </a:prstGeom>
        </p:spPr>
      </p:pic>
      <p:sp>
        <p:nvSpPr>
          <p:cNvPr id="6" name="Plassholder for dato 3">
            <a:extLst>
              <a:ext uri="{FF2B5EF4-FFF2-40B4-BE49-F238E27FC236}">
                <a16:creationId xmlns:a16="http://schemas.microsoft.com/office/drawing/2014/main" id="{7A1142C1-D000-408E-46A7-D5603F7ED417}"/>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7" name="Plassholder for bunntekst 4">
            <a:extLst>
              <a:ext uri="{FF2B5EF4-FFF2-40B4-BE49-F238E27FC236}">
                <a16:creationId xmlns:a16="http://schemas.microsoft.com/office/drawing/2014/main" id="{91ADA98E-1588-E91E-87CA-861F92966CEF}"/>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8" name="Plassholder for lysbildenummer 5">
            <a:extLst>
              <a:ext uri="{FF2B5EF4-FFF2-40B4-BE49-F238E27FC236}">
                <a16:creationId xmlns:a16="http://schemas.microsoft.com/office/drawing/2014/main" id="{76000E83-B309-961A-8EDF-BF131BADFDBB}"/>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pic>
        <p:nvPicPr>
          <p:cNvPr id="12" name="Logo" descr="Riksrevisjonen logo">
            <a:extLst>
              <a:ext uri="{FF2B5EF4-FFF2-40B4-BE49-F238E27FC236}">
                <a16:creationId xmlns:a16="http://schemas.microsoft.com/office/drawing/2014/main" id="{7508FAEA-75AE-AD43-56D0-858509CB9343}"/>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3382169" y="2717006"/>
            <a:ext cx="5427663" cy="1423988"/>
          </a:xfrm>
          <a:prstGeom prst="rect">
            <a:avLst/>
          </a:prstGeom>
        </p:spPr>
      </p:pic>
    </p:spTree>
    <p:extLst>
      <p:ext uri="{BB962C8B-B14F-4D97-AF65-F5344CB8AC3E}">
        <p14:creationId xmlns:p14="http://schemas.microsoft.com/office/powerpoint/2010/main" val="28241330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Logo B">
    <p:bg>
      <p:bgPr>
        <a:solidFill>
          <a:schemeClr val="bg1"/>
        </a:solidFill>
        <a:effectLst/>
      </p:bgPr>
    </p:bg>
    <p:spTree>
      <p:nvGrpSpPr>
        <p:cNvPr id="1" name=""/>
        <p:cNvGrpSpPr/>
        <p:nvPr/>
      </p:nvGrpSpPr>
      <p:grpSpPr>
        <a:xfrm>
          <a:off x="0" y="0"/>
          <a:ext cx="0" cy="0"/>
          <a:chOff x="0" y="0"/>
          <a:chExt cx="0" cy="0"/>
        </a:xfrm>
      </p:grpSpPr>
      <p:sp>
        <p:nvSpPr>
          <p:cNvPr id="6" name="Plassholder for dato 3">
            <a:extLst>
              <a:ext uri="{FF2B5EF4-FFF2-40B4-BE49-F238E27FC236}">
                <a16:creationId xmlns:a16="http://schemas.microsoft.com/office/drawing/2014/main" id="{7A1142C1-D000-408E-46A7-D5603F7ED417}"/>
              </a:ext>
            </a:extLst>
          </p:cNvPr>
          <p:cNvSpPr>
            <a:spLocks noGrp="1"/>
          </p:cNvSpPr>
          <p:nvPr>
            <p:ph type="dt" sz="half" idx="10"/>
          </p:nvPr>
        </p:nvSpPr>
        <p:spPr>
          <a:xfrm>
            <a:off x="7213600" y="6858000"/>
            <a:ext cx="2743200" cy="15389"/>
          </a:xfrm>
        </p:spPr>
        <p:txBody>
          <a:bodyPr>
            <a:spAutoFit/>
          </a:bodyPr>
          <a:lstStyle>
            <a:lvl1pPr>
              <a:defRPr sz="100">
                <a:noFill/>
              </a:defRPr>
            </a:lvl1pPr>
          </a:lstStyle>
          <a:p>
            <a:fld id="{E6A610A8-4EE9-470C-972D-0E41A2C50444}" type="datetimeFigureOut">
              <a:rPr lang="nb-NO" smtClean="0"/>
              <a:pPr/>
              <a:t>14.03.2026</a:t>
            </a:fld>
            <a:endParaRPr lang="nb-NO"/>
          </a:p>
        </p:txBody>
      </p:sp>
      <p:sp>
        <p:nvSpPr>
          <p:cNvPr id="7" name="Plassholder for bunntekst 4">
            <a:extLst>
              <a:ext uri="{FF2B5EF4-FFF2-40B4-BE49-F238E27FC236}">
                <a16:creationId xmlns:a16="http://schemas.microsoft.com/office/drawing/2014/main" id="{91ADA98E-1588-E91E-87CA-861F92966CEF}"/>
              </a:ext>
            </a:extLst>
          </p:cNvPr>
          <p:cNvSpPr>
            <a:spLocks noGrp="1"/>
          </p:cNvSpPr>
          <p:nvPr>
            <p:ph type="ftr" sz="quarter" idx="11"/>
          </p:nvPr>
        </p:nvSpPr>
        <p:spPr>
          <a:xfrm>
            <a:off x="1487488" y="6858000"/>
            <a:ext cx="4114800" cy="15389"/>
          </a:xfrm>
        </p:spPr>
        <p:txBody>
          <a:bodyPr>
            <a:spAutoFit/>
          </a:bodyPr>
          <a:lstStyle>
            <a:lvl1pPr>
              <a:defRPr sz="100">
                <a:noFill/>
              </a:defRPr>
            </a:lvl1pPr>
          </a:lstStyle>
          <a:p>
            <a:endParaRPr lang="nb-NO"/>
          </a:p>
        </p:txBody>
      </p:sp>
      <p:sp>
        <p:nvSpPr>
          <p:cNvPr id="8" name="Plassholder for lysbildenummer 5">
            <a:extLst>
              <a:ext uri="{FF2B5EF4-FFF2-40B4-BE49-F238E27FC236}">
                <a16:creationId xmlns:a16="http://schemas.microsoft.com/office/drawing/2014/main" id="{76000E83-B309-961A-8EDF-BF131BADFDBB}"/>
              </a:ext>
            </a:extLst>
          </p:cNvPr>
          <p:cNvSpPr>
            <a:spLocks noGrp="1"/>
          </p:cNvSpPr>
          <p:nvPr>
            <p:ph type="sldNum" sz="quarter" idx="12"/>
          </p:nvPr>
        </p:nvSpPr>
        <p:spPr>
          <a:xfrm>
            <a:off x="10515600" y="6858000"/>
            <a:ext cx="1168400" cy="15389"/>
          </a:xfrm>
        </p:spPr>
        <p:txBody>
          <a:bodyPr>
            <a:spAutoFit/>
          </a:bodyPr>
          <a:lstStyle>
            <a:lvl1pPr>
              <a:defRPr sz="100">
                <a:noFill/>
              </a:defRPr>
            </a:lvl1pPr>
          </a:lstStyle>
          <a:p>
            <a:fld id="{BE2ACD00-28B2-4D17-A930-2C9F8441C7CA}" type="slidenum">
              <a:rPr lang="nb-NO" smtClean="0"/>
              <a:pPr/>
              <a:t>‹#›</a:t>
            </a:fld>
            <a:endParaRPr lang="nb-NO"/>
          </a:p>
        </p:txBody>
      </p:sp>
      <p:pic>
        <p:nvPicPr>
          <p:cNvPr id="2" name="Logo" descr="Riksrevisjonen logo">
            <a:extLst>
              <a:ext uri="{FF2B5EF4-FFF2-40B4-BE49-F238E27FC236}">
                <a16:creationId xmlns:a16="http://schemas.microsoft.com/office/drawing/2014/main" id="{C762FE6E-84FB-D28D-5056-C3C7079EAE7C}"/>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3382170" y="2717006"/>
            <a:ext cx="5427663" cy="1423988"/>
          </a:xfrm>
          <a:prstGeom prst="rect">
            <a:avLst/>
          </a:prstGeom>
        </p:spPr>
      </p:pic>
    </p:spTree>
    <p:extLst>
      <p:ext uri="{BB962C8B-B14F-4D97-AF65-F5344CB8AC3E}">
        <p14:creationId xmlns:p14="http://schemas.microsoft.com/office/powerpoint/2010/main" val="17130086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3265040" y="1412776"/>
            <a:ext cx="12995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A685BB56-F2D3-0B41-9C10-EFE7040099BC}"/>
              </a:ext>
            </a:extLst>
          </p:cNvPr>
          <p:cNvSpPr>
            <a:spLocks noGrp="1"/>
          </p:cNvSpPr>
          <p:nvPr>
            <p:ph type="body" sz="quarter" idx="12" hasCustomPrompt="1"/>
          </p:nvPr>
        </p:nvSpPr>
        <p:spPr>
          <a:xfrm>
            <a:off x="409803" y="381131"/>
            <a:ext cx="10937751" cy="914400"/>
          </a:xfrm>
          <a:prstGeom prst="rect">
            <a:avLst/>
          </a:prstGeom>
        </p:spPr>
        <p:txBody>
          <a:bodyPr/>
          <a:lstStyle>
            <a:lvl1pPr marL="0" indent="0">
              <a:buNone/>
              <a:defRPr sz="40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OVERSKRIFT / Overskrift </a:t>
            </a:r>
          </a:p>
        </p:txBody>
      </p:sp>
      <p:sp>
        <p:nvSpPr>
          <p:cNvPr id="6" name="Text Placeholder 6">
            <a:extLst>
              <a:ext uri="{FF2B5EF4-FFF2-40B4-BE49-F238E27FC236}">
                <a16:creationId xmlns:a16="http://schemas.microsoft.com/office/drawing/2014/main" id="{0A26A61A-B898-A84A-95AF-035A71CF0254}"/>
              </a:ext>
            </a:extLst>
          </p:cNvPr>
          <p:cNvSpPr>
            <a:spLocks noGrp="1"/>
          </p:cNvSpPr>
          <p:nvPr>
            <p:ph type="body" sz="quarter" idx="13" hasCustomPrompt="1"/>
          </p:nvPr>
        </p:nvSpPr>
        <p:spPr>
          <a:xfrm>
            <a:off x="432392" y="1385761"/>
            <a:ext cx="10915162" cy="5119970"/>
          </a:xfrm>
          <a:prstGeom prst="rect">
            <a:avLst/>
          </a:prstGeom>
        </p:spPr>
        <p:txBody>
          <a:bodyPr/>
          <a:lstStyle>
            <a:lvl1pPr marL="0" indent="0">
              <a:buNone/>
              <a:defRPr sz="1400">
                <a:solidFill>
                  <a:schemeClr val="tx2"/>
                </a:solidFill>
                <a:latin typeface="Inter" panose="020B0502030000000004" pitchFamily="34" charset="0"/>
                <a:ea typeface="Inter" panose="020B05020300000000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Tree>
    <p:extLst>
      <p:ext uri="{BB962C8B-B14F-4D97-AF65-F5344CB8AC3E}">
        <p14:creationId xmlns:p14="http://schemas.microsoft.com/office/powerpoint/2010/main" val="10599039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A71A3B-0A75-5141-FF2B-0E6F4699D95F}"/>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9AD7458-4179-E4A0-7D6D-1197DB758BC2}"/>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2276AD32-6182-A99D-08B4-5511FF0A2525}"/>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BE94A5E0-2A39-6515-2534-5CA6B8F6B39B}"/>
              </a:ext>
            </a:extLst>
          </p:cNvPr>
          <p:cNvSpPr>
            <a:spLocks noGrp="1"/>
          </p:cNvSpPr>
          <p:nvPr>
            <p:ph type="dt" sz="half" idx="10"/>
          </p:nvPr>
        </p:nvSpPr>
        <p:spPr/>
        <p:txBody>
          <a:bodyPr/>
          <a:lstStyle/>
          <a:p>
            <a:fld id="{5678A843-95A7-9E4B-A9C5-7B1971DAC7CF}" type="datetimeFigureOut">
              <a:rPr lang="nb-NO" smtClean="0"/>
              <a:t>14.03.2026</a:t>
            </a:fld>
            <a:endParaRPr lang="nb-NO"/>
          </a:p>
        </p:txBody>
      </p:sp>
      <p:sp>
        <p:nvSpPr>
          <p:cNvPr id="6" name="Plassholder for bunntekst 5">
            <a:extLst>
              <a:ext uri="{FF2B5EF4-FFF2-40B4-BE49-F238E27FC236}">
                <a16:creationId xmlns:a16="http://schemas.microsoft.com/office/drawing/2014/main" id="{9AF33D4B-462D-31FC-7E92-696B06E365A8}"/>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1D0160C5-BDAC-5C65-0E6C-78EEC34DDB66}"/>
              </a:ext>
            </a:extLst>
          </p:cNvPr>
          <p:cNvSpPr>
            <a:spLocks noGrp="1"/>
          </p:cNvSpPr>
          <p:nvPr>
            <p:ph type="sldNum" sz="quarter" idx="12"/>
          </p:nvPr>
        </p:nvSpPr>
        <p:spPr/>
        <p:txBody>
          <a:bodyPr/>
          <a:lstStyle/>
          <a:p>
            <a:fld id="{9D821E6E-3984-C54A-906E-35BD83DB6112}" type="slidenum">
              <a:rPr lang="nb-NO" smtClean="0"/>
              <a:t>‹#›</a:t>
            </a:fld>
            <a:endParaRPr lang="nb-NO"/>
          </a:p>
        </p:txBody>
      </p:sp>
    </p:spTree>
    <p:extLst>
      <p:ext uri="{BB962C8B-B14F-4D97-AF65-F5344CB8AC3E}">
        <p14:creationId xmlns:p14="http://schemas.microsoft.com/office/powerpoint/2010/main" val="3547677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svg"/><Relationship Id="rId3" Type="http://schemas.openxmlformats.org/officeDocument/2006/relationships/slideLayout" Target="../slideLayouts/slideLayout26.xml"/><Relationship Id="rId7"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image" Target="../media/image1.sv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1.sv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sv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theme" Target="../theme/theme6.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image" Target="../media/image1.svg"/><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theme" Target="../theme/theme7.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17.tif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21" Type="http://schemas.openxmlformats.org/officeDocument/2006/relationships/theme" Target="../theme/theme9.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image" Target="../media/image1.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508000" y="518584"/>
            <a:ext cx="11176000" cy="577081"/>
          </a:xfrm>
          <a:prstGeom prst="rect">
            <a:avLst/>
          </a:prstGeom>
        </p:spPr>
        <p:txBody>
          <a:bodyPr vert="horz"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508000" y="1702863"/>
            <a:ext cx="11176000" cy="4411132"/>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oolsToo_Slide" descr="ToolsToo_Slide">
            <a:extLst>
              <a:ext uri="{FF2B5EF4-FFF2-40B4-BE49-F238E27FC236}">
                <a16:creationId xmlns:a16="http://schemas.microsoft.com/office/drawing/2014/main" id="{1F81589F-B3E4-6835-96B5-8B1A21C3D8A0}"/>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Symbol">
            <a:extLst>
              <a:ext uri="{FF2B5EF4-FFF2-40B4-BE49-F238E27FC236}">
                <a16:creationId xmlns:a16="http://schemas.microsoft.com/office/drawing/2014/main" id="{2EF4E811-DCBC-0433-C3F8-59AFEA9DC4D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5"/>
              </a:ext>
            </a:extLst>
          </a:blip>
          <a:stretch>
            <a:fillRect/>
          </a:stretch>
        </p:blipFill>
        <p:spPr>
          <a:xfrm>
            <a:off x="482639" y="6298141"/>
            <a:ext cx="308517" cy="343036"/>
          </a:xfrm>
          <a:prstGeom prst="rect">
            <a:avLst/>
          </a:prstGeom>
        </p:spPr>
      </p:pic>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487488" y="6410592"/>
            <a:ext cx="4114800" cy="150811"/>
          </a:xfrm>
          <a:prstGeom prst="rect">
            <a:avLst/>
          </a:prstGeom>
        </p:spPr>
        <p:txBody>
          <a:bodyPr vert="horz" lIns="0" tIns="0" rIns="0" bIns="0" rtlCol="0" anchor="ctr">
            <a:noAutofit/>
          </a:bodyPr>
          <a:lstStyle>
            <a:lvl1pPr algn="l">
              <a:defRPr sz="980">
                <a:solidFill>
                  <a:schemeClr val="tx1">
                    <a:lumMod val="75000"/>
                    <a:lumOff val="25000"/>
                  </a:schemeClr>
                </a:solidFill>
              </a:defRPr>
            </a:lvl1pPr>
          </a:lstStyle>
          <a:p>
            <a:endParaRPr lang="nb-NO"/>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7213600" y="6410592"/>
            <a:ext cx="2743200" cy="150811"/>
          </a:xfrm>
          <a:prstGeom prst="rect">
            <a:avLst/>
          </a:prstGeom>
        </p:spPr>
        <p:txBody>
          <a:bodyPr vert="horz" lIns="0" tIns="0" rIns="0" bIns="0" rtlCol="0" anchor="ctr">
            <a:noAutofit/>
          </a:bodyPr>
          <a:lstStyle>
            <a:lvl1pPr algn="l" fontAlgn="ctr">
              <a:defRPr sz="980">
                <a:solidFill>
                  <a:schemeClr val="tx1">
                    <a:lumMod val="75000"/>
                    <a:lumOff val="25000"/>
                  </a:schemeClr>
                </a:solidFill>
              </a:defRPr>
            </a:lvl1pPr>
          </a:lstStyle>
          <a:p>
            <a:fld id="{E6A610A8-4EE9-470C-972D-0E41A2C50444}" type="datetimeFigureOut">
              <a:rPr lang="nb-NO" smtClean="0"/>
              <a:pPr/>
              <a:t>14.03.2026</a:t>
            </a:fld>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515600" y="6410592"/>
            <a:ext cx="1168400" cy="150811"/>
          </a:xfrm>
          <a:prstGeom prst="rect">
            <a:avLst/>
          </a:prstGeom>
        </p:spPr>
        <p:txBody>
          <a:bodyPr vert="horz" lIns="0" tIns="0" rIns="0" bIns="0" rtlCol="0" anchor="ctr">
            <a:noAutofit/>
          </a:bodyPr>
          <a:lstStyle>
            <a:lvl1pPr algn="r">
              <a:defRPr sz="980">
                <a:solidFill>
                  <a:schemeClr val="tx1">
                    <a:lumMod val="75000"/>
                    <a:lumOff val="25000"/>
                  </a:schemeClr>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1548812143"/>
      </p:ext>
    </p:extLst>
  </p:cSld>
  <p:clrMap bg1="lt1" tx1="dk1" bg2="lt2" tx2="dk2" accent1="accent1" accent2="accent2" accent3="accent3" accent4="accent4" accent5="accent5" accent6="accent6" hlink="hlink" folHlink="folHlink"/>
  <p:sldLayoutIdLst>
    <p:sldLayoutId id="2147483658" r:id="rId1"/>
    <p:sldLayoutId id="2147483664" r:id="rId2"/>
    <p:sldLayoutId id="2147483665" r:id="rId3"/>
    <p:sldLayoutId id="2147483660" r:id="rId4"/>
    <p:sldLayoutId id="2147483662" r:id="rId5"/>
    <p:sldLayoutId id="2147483663" r:id="rId6"/>
    <p:sldLayoutId id="2147483666" r:id="rId7"/>
    <p:sldLayoutId id="2147483667" r:id="rId8"/>
    <p:sldLayoutId id="2147483668" r:id="rId9"/>
    <p:sldLayoutId id="2147483671" r:id="rId10"/>
    <p:sldLayoutId id="2147483686" r:id="rId11"/>
    <p:sldLayoutId id="2147483669" r:id="rId12"/>
    <p:sldLayoutId id="2147483670" r:id="rId13"/>
    <p:sldLayoutId id="2147483681" r:id="rId14"/>
    <p:sldLayoutId id="2147483682" r:id="rId15"/>
    <p:sldLayoutId id="2147483685" r:id="rId16"/>
    <p:sldLayoutId id="2147483683" r:id="rId17"/>
    <p:sldLayoutId id="2147483684" r:id="rId18"/>
    <p:sldLayoutId id="2147483945" r:id="rId19"/>
    <p:sldLayoutId id="2147483946" r:id="rId20"/>
    <p:sldLayoutId id="2147483947" r:id="rId21"/>
    <p:sldLayoutId id="2147483948" r:id="rId22"/>
    <p:sldLayoutId id="2147483949" r:id="rId23"/>
  </p:sldLayoutIdLst>
  <p:txStyles>
    <p:titleStyle>
      <a:lvl1pPr algn="l" defTabSz="914400" rtl="0" eaLnBrk="1" fontAlgn="ctr" latinLnBrk="0" hangingPunct="1">
        <a:lnSpc>
          <a:spcPct val="100000"/>
        </a:lnSpc>
        <a:spcBef>
          <a:spcPct val="0"/>
        </a:spcBef>
        <a:buNone/>
        <a:defRPr sz="3750" kern="1200">
          <a:solidFill>
            <a:schemeClr val="tx2"/>
          </a:solidFill>
          <a:latin typeface="+mj-lt"/>
          <a:ea typeface="+mj-ea"/>
          <a:cs typeface="+mj-cs"/>
        </a:defRPr>
      </a:lvl1pPr>
    </p:titleStyle>
    <p:bodyStyle>
      <a:lvl1pPr marL="257175" indent="-257175" algn="l" defTabSz="914400" rtl="0" eaLnBrk="1" fontAlgn="ctr" latinLnBrk="0" hangingPunct="1">
        <a:lnSpc>
          <a:spcPct val="100000"/>
        </a:lnSpc>
        <a:spcBef>
          <a:spcPts val="1000"/>
        </a:spcBef>
        <a:buClr>
          <a:schemeClr val="tx2"/>
        </a:buClr>
        <a:buFont typeface="Avenir Next LT Pro" panose="020B0504020202020204" pitchFamily="34" charset="0"/>
        <a:buChar char="•"/>
        <a:defRPr sz="2400" kern="1200">
          <a:solidFill>
            <a:schemeClr val="tx1"/>
          </a:solidFill>
          <a:latin typeface="+mn-lt"/>
          <a:ea typeface="+mn-ea"/>
          <a:cs typeface="+mn-cs"/>
        </a:defRPr>
      </a:lvl1pPr>
      <a:lvl2pPr marL="685800" indent="-228600" algn="l" defTabSz="914400" rtl="0" eaLnBrk="1" fontAlgn="ctr" latinLnBrk="0" hangingPunct="1">
        <a:lnSpc>
          <a:spcPct val="100000"/>
        </a:lnSpc>
        <a:spcBef>
          <a:spcPts val="500"/>
        </a:spcBef>
        <a:buFont typeface="Avenir Next LT Pro" panose="020B0504020202020204" pitchFamily="34" charset="0"/>
        <a:buChar char="–"/>
        <a:defRPr sz="2400" kern="1200">
          <a:solidFill>
            <a:schemeClr val="tx1"/>
          </a:solidFill>
          <a:latin typeface="+mn-lt"/>
          <a:ea typeface="+mn-ea"/>
          <a:cs typeface="+mn-cs"/>
        </a:defRPr>
      </a:lvl2pPr>
      <a:lvl3pPr marL="1143000" indent="-228600" algn="l" defTabSz="914400" rtl="0" eaLnBrk="1" fontAlgn="ctr" latinLnBrk="0" hangingPunct="1">
        <a:lnSpc>
          <a:spcPct val="100000"/>
        </a:lnSpc>
        <a:spcBef>
          <a:spcPts val="500"/>
        </a:spcBef>
        <a:buFont typeface="Avenir Next LT Pro" panose="020B0504020202020204" pitchFamily="34" charset="0"/>
        <a:buChar char="–"/>
        <a:defRPr sz="1920" kern="1200">
          <a:solidFill>
            <a:schemeClr val="tx1"/>
          </a:solidFill>
          <a:latin typeface="+mn-lt"/>
          <a:ea typeface="+mn-ea"/>
          <a:cs typeface="+mn-cs"/>
        </a:defRPr>
      </a:lvl3pPr>
      <a:lvl4pPr marL="0" indent="0" algn="l" defTabSz="914400" rtl="0" eaLnBrk="1" fontAlgn="ctr" latinLnBrk="0" hangingPunct="1">
        <a:lnSpc>
          <a:spcPct val="100000"/>
        </a:lnSpc>
        <a:spcBef>
          <a:spcPts val="1000"/>
        </a:spcBef>
        <a:buFont typeface="Wingdings" panose="05000000000000000000" pitchFamily="2" charset="2"/>
        <a:buNone/>
        <a:defRPr sz="2400" kern="1200">
          <a:solidFill>
            <a:schemeClr val="tx2"/>
          </a:solidFill>
          <a:latin typeface="+mj-lt"/>
          <a:ea typeface="+mn-ea"/>
          <a:cs typeface="+mn-cs"/>
        </a:defRPr>
      </a:lvl4pPr>
      <a:lvl5pPr marL="0" indent="0" algn="l" defTabSz="914400" rtl="0" eaLnBrk="1" fontAlgn="ctr" latinLnBrk="0" hangingPunct="1">
        <a:lnSpc>
          <a:spcPct val="100000"/>
        </a:lnSpc>
        <a:spcBef>
          <a:spcPts val="1000"/>
        </a:spcBef>
        <a:buFont typeface="Wingdings" panose="05000000000000000000" pitchFamily="2" charset="2"/>
        <a:buNone/>
        <a:defRPr sz="1920" kern="1200">
          <a:solidFill>
            <a:schemeClr val="tx2"/>
          </a:solidFill>
          <a:latin typeface="+mj-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0" userDrawn="1">
          <p15:clr>
            <a:srgbClr val="9FCC3B"/>
          </p15:clr>
        </p15:guide>
        <p15:guide id="3" pos="723" userDrawn="1">
          <p15:clr>
            <a:srgbClr val="9FCC3B"/>
          </p15:clr>
        </p15:guide>
        <p15:guide id="4" pos="937" userDrawn="1">
          <p15:clr>
            <a:srgbClr val="9FCC3B"/>
          </p15:clr>
        </p15:guide>
        <p15:guide id="5" pos="1326" userDrawn="1">
          <p15:clr>
            <a:srgbClr val="9FCC3B"/>
          </p15:clr>
        </p15:guide>
        <p15:guide id="6" pos="1527" userDrawn="1">
          <p15:clr>
            <a:srgbClr val="9FCC3B"/>
          </p15:clr>
        </p15:guide>
        <p15:guide id="7" pos="1929" userDrawn="1">
          <p15:clr>
            <a:srgbClr val="9FCC3B"/>
          </p15:clr>
        </p15:guide>
        <p15:guide id="8" pos="2130" userDrawn="1">
          <p15:clr>
            <a:srgbClr val="9FCC3B"/>
          </p15:clr>
        </p15:guide>
        <p15:guide id="9" pos="2533" userDrawn="1">
          <p15:clr>
            <a:srgbClr val="9FCC3B"/>
          </p15:clr>
        </p15:guide>
        <p15:guide id="10" pos="2734" userDrawn="1">
          <p15:clr>
            <a:srgbClr val="9FCC3B"/>
          </p15:clr>
        </p15:guide>
        <p15:guide id="11" pos="3137" userDrawn="1">
          <p15:clr>
            <a:srgbClr val="9FCC3B"/>
          </p15:clr>
        </p15:guide>
        <p15:guide id="12" pos="3336" userDrawn="1">
          <p15:clr>
            <a:srgbClr val="9FCC3B"/>
          </p15:clr>
        </p15:guide>
        <p15:guide id="13" pos="3739" userDrawn="1">
          <p15:clr>
            <a:srgbClr val="9FCC3B"/>
          </p15:clr>
        </p15:guide>
        <p15:guide id="14" pos="3940" userDrawn="1">
          <p15:clr>
            <a:srgbClr val="9FCC3B"/>
          </p15:clr>
        </p15:guide>
        <p15:guide id="15" pos="4343" userDrawn="1">
          <p15:clr>
            <a:srgbClr val="9FCC3B"/>
          </p15:clr>
        </p15:guide>
        <p15:guide id="16" pos="4544" userDrawn="1">
          <p15:clr>
            <a:srgbClr val="9FCC3B"/>
          </p15:clr>
        </p15:guide>
        <p15:guide id="17" pos="4946" userDrawn="1">
          <p15:clr>
            <a:srgbClr val="9FCC3B"/>
          </p15:clr>
        </p15:guide>
        <p15:guide id="18" pos="5147" userDrawn="1">
          <p15:clr>
            <a:srgbClr val="9FCC3B"/>
          </p15:clr>
        </p15:guide>
        <p15:guide id="19" pos="5549" userDrawn="1">
          <p15:clr>
            <a:srgbClr val="9FCC3B"/>
          </p15:clr>
        </p15:guide>
        <p15:guide id="20" pos="5750" userDrawn="1">
          <p15:clr>
            <a:srgbClr val="9FCC3B"/>
          </p15:clr>
        </p15:guide>
        <p15:guide id="21" pos="6153" userDrawn="1">
          <p15:clr>
            <a:srgbClr val="9FCC3B"/>
          </p15:clr>
        </p15:guide>
        <p15:guide id="22" pos="6354" userDrawn="1">
          <p15:clr>
            <a:srgbClr val="9FCC3B"/>
          </p15:clr>
        </p15:guide>
        <p15:guide id="23" pos="6756" userDrawn="1">
          <p15:clr>
            <a:srgbClr val="9FCC3B"/>
          </p15:clr>
        </p15:guide>
        <p15:guide id="24" pos="6957" userDrawn="1">
          <p15:clr>
            <a:srgbClr val="9FCC3B"/>
          </p15:clr>
        </p15:guide>
        <p15:guide id="25" orient="horz" pos="399" userDrawn="1">
          <p15:clr>
            <a:srgbClr val="9FCC3B"/>
          </p15:clr>
        </p15:guide>
        <p15:guide id="26" orient="horz" pos="1120" userDrawn="1">
          <p15:clr>
            <a:srgbClr val="9FCC3B"/>
          </p15:clr>
        </p15:guide>
        <p15:guide id="28" pos="7360" userDrawn="1">
          <p15:clr>
            <a:srgbClr val="9FCC3B"/>
          </p15:clr>
        </p15:guide>
        <p15:guide id="29" orient="horz" pos="3851"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508000" y="518584"/>
            <a:ext cx="11176000" cy="577081"/>
          </a:xfrm>
          <a:prstGeom prst="rect">
            <a:avLst/>
          </a:prstGeom>
        </p:spPr>
        <p:txBody>
          <a:bodyPr vert="horz"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508000" y="1702863"/>
            <a:ext cx="11176000" cy="4411132"/>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oolsToo_Slide" descr="ToolsToo_Slide">
            <a:extLst>
              <a:ext uri="{FF2B5EF4-FFF2-40B4-BE49-F238E27FC236}">
                <a16:creationId xmlns:a16="http://schemas.microsoft.com/office/drawing/2014/main" id="{1F81589F-B3E4-6835-96B5-8B1A21C3D8A0}"/>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Symbol">
            <a:extLst>
              <a:ext uri="{FF2B5EF4-FFF2-40B4-BE49-F238E27FC236}">
                <a16:creationId xmlns:a16="http://schemas.microsoft.com/office/drawing/2014/main" id="{2EF4E811-DCBC-0433-C3F8-59AFEA9DC4D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482639" y="6298141"/>
            <a:ext cx="308517" cy="343036"/>
          </a:xfrm>
          <a:prstGeom prst="rect">
            <a:avLst/>
          </a:prstGeom>
        </p:spPr>
      </p:pic>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487488" y="6410592"/>
            <a:ext cx="4114800" cy="150811"/>
          </a:xfrm>
          <a:prstGeom prst="rect">
            <a:avLst/>
          </a:prstGeom>
        </p:spPr>
        <p:txBody>
          <a:bodyPr vert="horz" lIns="0" tIns="0" rIns="0" bIns="0" rtlCol="0" anchor="ctr">
            <a:noAutofit/>
          </a:bodyPr>
          <a:lstStyle>
            <a:lvl1pPr algn="l">
              <a:defRPr sz="980">
                <a:solidFill>
                  <a:schemeClr val="tx1">
                    <a:lumMod val="75000"/>
                    <a:lumOff val="25000"/>
                  </a:schemeClr>
                </a:solidFill>
              </a:defRPr>
            </a:lvl1pPr>
          </a:lstStyle>
          <a:p>
            <a:endParaRPr lang="nb-NO"/>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7213600" y="6410592"/>
            <a:ext cx="2743200" cy="150811"/>
          </a:xfrm>
          <a:prstGeom prst="rect">
            <a:avLst/>
          </a:prstGeom>
        </p:spPr>
        <p:txBody>
          <a:bodyPr vert="horz" lIns="0" tIns="0" rIns="0" bIns="0" rtlCol="0" anchor="ctr">
            <a:noAutofit/>
          </a:bodyPr>
          <a:lstStyle>
            <a:lvl1pPr algn="l" fontAlgn="ctr">
              <a:defRPr sz="980">
                <a:solidFill>
                  <a:schemeClr val="tx1">
                    <a:lumMod val="75000"/>
                    <a:lumOff val="25000"/>
                  </a:schemeClr>
                </a:solidFill>
              </a:defRPr>
            </a:lvl1pPr>
          </a:lstStyle>
          <a:p>
            <a:fld id="{E6A610A8-4EE9-470C-972D-0E41A2C50444}" type="datetimeFigureOut">
              <a:rPr lang="nb-NO" smtClean="0"/>
              <a:pPr/>
              <a:t>14.03.2026</a:t>
            </a:fld>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515600" y="6410592"/>
            <a:ext cx="1168400" cy="150811"/>
          </a:xfrm>
          <a:prstGeom prst="rect">
            <a:avLst/>
          </a:prstGeom>
        </p:spPr>
        <p:txBody>
          <a:bodyPr vert="horz" lIns="0" tIns="0" rIns="0" bIns="0" rtlCol="0" anchor="ctr">
            <a:noAutofit/>
          </a:bodyPr>
          <a:lstStyle>
            <a:lvl1pPr algn="r">
              <a:defRPr sz="980">
                <a:solidFill>
                  <a:schemeClr val="tx1">
                    <a:lumMod val="75000"/>
                    <a:lumOff val="25000"/>
                  </a:schemeClr>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383116069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21" r:id="rId5"/>
    <p:sldLayoutId id="2147483722" r:id="rId6"/>
  </p:sldLayoutIdLst>
  <p:txStyles>
    <p:titleStyle>
      <a:lvl1pPr algn="l" defTabSz="914400" rtl="0" eaLnBrk="1" fontAlgn="ctr" latinLnBrk="0" hangingPunct="1">
        <a:lnSpc>
          <a:spcPct val="100000"/>
        </a:lnSpc>
        <a:spcBef>
          <a:spcPct val="0"/>
        </a:spcBef>
        <a:buNone/>
        <a:defRPr sz="3750" kern="1200">
          <a:solidFill>
            <a:schemeClr val="tx2"/>
          </a:solidFill>
          <a:latin typeface="+mj-lt"/>
          <a:ea typeface="+mj-ea"/>
          <a:cs typeface="+mj-cs"/>
        </a:defRPr>
      </a:lvl1pPr>
    </p:titleStyle>
    <p:bodyStyle>
      <a:lvl1pPr marL="257175" indent="-257175" algn="l" defTabSz="914400" rtl="0" eaLnBrk="1" fontAlgn="ctr" latinLnBrk="0" hangingPunct="1">
        <a:lnSpc>
          <a:spcPct val="100000"/>
        </a:lnSpc>
        <a:spcBef>
          <a:spcPts val="1000"/>
        </a:spcBef>
        <a:buClr>
          <a:schemeClr val="tx2"/>
        </a:buClr>
        <a:buFont typeface="Avenir Next LT Pro" panose="020B0504020202020204" pitchFamily="34" charset="0"/>
        <a:buChar char="•"/>
        <a:defRPr sz="2400" kern="1200">
          <a:solidFill>
            <a:schemeClr val="tx1"/>
          </a:solidFill>
          <a:latin typeface="+mn-lt"/>
          <a:ea typeface="+mn-ea"/>
          <a:cs typeface="+mn-cs"/>
        </a:defRPr>
      </a:lvl1pPr>
      <a:lvl2pPr marL="685800" indent="-228600" algn="l" defTabSz="914400" rtl="0" eaLnBrk="1" fontAlgn="ctr" latinLnBrk="0" hangingPunct="1">
        <a:lnSpc>
          <a:spcPct val="100000"/>
        </a:lnSpc>
        <a:spcBef>
          <a:spcPts val="500"/>
        </a:spcBef>
        <a:buFont typeface="Avenir Next LT Pro" panose="020B0504020202020204" pitchFamily="34" charset="0"/>
        <a:buChar char="–"/>
        <a:defRPr sz="2400" kern="1200">
          <a:solidFill>
            <a:schemeClr val="tx1"/>
          </a:solidFill>
          <a:latin typeface="+mn-lt"/>
          <a:ea typeface="+mn-ea"/>
          <a:cs typeface="+mn-cs"/>
        </a:defRPr>
      </a:lvl2pPr>
      <a:lvl3pPr marL="1143000" indent="-228600" algn="l" defTabSz="914400" rtl="0" eaLnBrk="1" fontAlgn="ctr" latinLnBrk="0" hangingPunct="1">
        <a:lnSpc>
          <a:spcPct val="100000"/>
        </a:lnSpc>
        <a:spcBef>
          <a:spcPts val="500"/>
        </a:spcBef>
        <a:buFont typeface="Avenir Next LT Pro" panose="020B0504020202020204" pitchFamily="34" charset="0"/>
        <a:buChar char="–"/>
        <a:defRPr sz="1920" kern="1200">
          <a:solidFill>
            <a:schemeClr val="tx1"/>
          </a:solidFill>
          <a:latin typeface="+mn-lt"/>
          <a:ea typeface="+mn-ea"/>
          <a:cs typeface="+mn-cs"/>
        </a:defRPr>
      </a:lvl3pPr>
      <a:lvl4pPr marL="0" indent="0" algn="l" defTabSz="914400" rtl="0" eaLnBrk="1" fontAlgn="ctr" latinLnBrk="0" hangingPunct="1">
        <a:lnSpc>
          <a:spcPct val="100000"/>
        </a:lnSpc>
        <a:spcBef>
          <a:spcPts val="1000"/>
        </a:spcBef>
        <a:buFont typeface="Wingdings" panose="05000000000000000000" pitchFamily="2" charset="2"/>
        <a:buNone/>
        <a:defRPr sz="2400" kern="1200">
          <a:solidFill>
            <a:schemeClr val="tx2"/>
          </a:solidFill>
          <a:latin typeface="+mj-lt"/>
          <a:ea typeface="+mn-ea"/>
          <a:cs typeface="+mn-cs"/>
        </a:defRPr>
      </a:lvl4pPr>
      <a:lvl5pPr marL="0" indent="0" algn="l" defTabSz="914400" rtl="0" eaLnBrk="1" fontAlgn="ctr" latinLnBrk="0" hangingPunct="1">
        <a:lnSpc>
          <a:spcPct val="100000"/>
        </a:lnSpc>
        <a:spcBef>
          <a:spcPts val="1000"/>
        </a:spcBef>
        <a:buFont typeface="Wingdings" panose="05000000000000000000" pitchFamily="2" charset="2"/>
        <a:buNone/>
        <a:defRPr sz="1920" kern="1200">
          <a:solidFill>
            <a:schemeClr val="tx2"/>
          </a:solidFill>
          <a:latin typeface="+mj-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0" userDrawn="1">
          <p15:clr>
            <a:srgbClr val="9FCC3B"/>
          </p15:clr>
        </p15:guide>
        <p15:guide id="3" pos="723" userDrawn="1">
          <p15:clr>
            <a:srgbClr val="9FCC3B"/>
          </p15:clr>
        </p15:guide>
        <p15:guide id="4" pos="937" userDrawn="1">
          <p15:clr>
            <a:srgbClr val="9FCC3B"/>
          </p15:clr>
        </p15:guide>
        <p15:guide id="5" pos="1326" userDrawn="1">
          <p15:clr>
            <a:srgbClr val="9FCC3B"/>
          </p15:clr>
        </p15:guide>
        <p15:guide id="6" pos="1527" userDrawn="1">
          <p15:clr>
            <a:srgbClr val="9FCC3B"/>
          </p15:clr>
        </p15:guide>
        <p15:guide id="7" pos="1929" userDrawn="1">
          <p15:clr>
            <a:srgbClr val="9FCC3B"/>
          </p15:clr>
        </p15:guide>
        <p15:guide id="8" pos="2130" userDrawn="1">
          <p15:clr>
            <a:srgbClr val="9FCC3B"/>
          </p15:clr>
        </p15:guide>
        <p15:guide id="9" pos="2533" userDrawn="1">
          <p15:clr>
            <a:srgbClr val="9FCC3B"/>
          </p15:clr>
        </p15:guide>
        <p15:guide id="10" pos="2734" userDrawn="1">
          <p15:clr>
            <a:srgbClr val="9FCC3B"/>
          </p15:clr>
        </p15:guide>
        <p15:guide id="11" pos="3137" userDrawn="1">
          <p15:clr>
            <a:srgbClr val="9FCC3B"/>
          </p15:clr>
        </p15:guide>
        <p15:guide id="12" pos="3336" userDrawn="1">
          <p15:clr>
            <a:srgbClr val="9FCC3B"/>
          </p15:clr>
        </p15:guide>
        <p15:guide id="13" pos="3739" userDrawn="1">
          <p15:clr>
            <a:srgbClr val="9FCC3B"/>
          </p15:clr>
        </p15:guide>
        <p15:guide id="14" pos="3940" userDrawn="1">
          <p15:clr>
            <a:srgbClr val="9FCC3B"/>
          </p15:clr>
        </p15:guide>
        <p15:guide id="15" pos="4343" userDrawn="1">
          <p15:clr>
            <a:srgbClr val="9FCC3B"/>
          </p15:clr>
        </p15:guide>
        <p15:guide id="16" pos="4544" userDrawn="1">
          <p15:clr>
            <a:srgbClr val="9FCC3B"/>
          </p15:clr>
        </p15:guide>
        <p15:guide id="17" pos="4946" userDrawn="1">
          <p15:clr>
            <a:srgbClr val="9FCC3B"/>
          </p15:clr>
        </p15:guide>
        <p15:guide id="18" pos="5147" userDrawn="1">
          <p15:clr>
            <a:srgbClr val="9FCC3B"/>
          </p15:clr>
        </p15:guide>
        <p15:guide id="19" pos="5549" userDrawn="1">
          <p15:clr>
            <a:srgbClr val="9FCC3B"/>
          </p15:clr>
        </p15:guide>
        <p15:guide id="20" pos="5750" userDrawn="1">
          <p15:clr>
            <a:srgbClr val="9FCC3B"/>
          </p15:clr>
        </p15:guide>
        <p15:guide id="21" pos="6153" userDrawn="1">
          <p15:clr>
            <a:srgbClr val="9FCC3B"/>
          </p15:clr>
        </p15:guide>
        <p15:guide id="22" pos="6354" userDrawn="1">
          <p15:clr>
            <a:srgbClr val="9FCC3B"/>
          </p15:clr>
        </p15:guide>
        <p15:guide id="23" pos="6756" userDrawn="1">
          <p15:clr>
            <a:srgbClr val="9FCC3B"/>
          </p15:clr>
        </p15:guide>
        <p15:guide id="24" pos="6957" userDrawn="1">
          <p15:clr>
            <a:srgbClr val="9FCC3B"/>
          </p15:clr>
        </p15:guide>
        <p15:guide id="25" orient="horz" pos="399" userDrawn="1">
          <p15:clr>
            <a:srgbClr val="9FCC3B"/>
          </p15:clr>
        </p15:guide>
        <p15:guide id="26" orient="horz" pos="1120" userDrawn="1">
          <p15:clr>
            <a:srgbClr val="9FCC3B"/>
          </p15:clr>
        </p15:guide>
        <p15:guide id="28" pos="7360" userDrawn="1">
          <p15:clr>
            <a:srgbClr val="9FCC3B"/>
          </p15:clr>
        </p15:guide>
        <p15:guide id="29" orient="horz" pos="3851"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508000" y="518584"/>
            <a:ext cx="11176000" cy="577081"/>
          </a:xfrm>
          <a:prstGeom prst="rect">
            <a:avLst/>
          </a:prstGeom>
        </p:spPr>
        <p:txBody>
          <a:bodyPr vert="horz"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508000" y="1702863"/>
            <a:ext cx="11176000" cy="4411132"/>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oolsToo_Slide" descr="ToolsToo_Slide">
            <a:extLst>
              <a:ext uri="{FF2B5EF4-FFF2-40B4-BE49-F238E27FC236}">
                <a16:creationId xmlns:a16="http://schemas.microsoft.com/office/drawing/2014/main" id="{1F81589F-B3E4-6835-96B5-8B1A21C3D8A0}"/>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Symbol">
            <a:extLst>
              <a:ext uri="{FF2B5EF4-FFF2-40B4-BE49-F238E27FC236}">
                <a16:creationId xmlns:a16="http://schemas.microsoft.com/office/drawing/2014/main" id="{2EF4E811-DCBC-0433-C3F8-59AFEA9DC4D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6"/>
              </a:ext>
            </a:extLst>
          </a:blip>
          <a:stretch>
            <a:fillRect/>
          </a:stretch>
        </p:blipFill>
        <p:spPr>
          <a:xfrm>
            <a:off x="482639" y="6298141"/>
            <a:ext cx="308517" cy="343036"/>
          </a:xfrm>
          <a:prstGeom prst="rect">
            <a:avLst/>
          </a:prstGeom>
        </p:spPr>
      </p:pic>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487488" y="6410592"/>
            <a:ext cx="4114800" cy="150811"/>
          </a:xfrm>
          <a:prstGeom prst="rect">
            <a:avLst/>
          </a:prstGeom>
        </p:spPr>
        <p:txBody>
          <a:bodyPr vert="horz" lIns="0" tIns="0" rIns="0" bIns="0" rtlCol="0" anchor="ctr">
            <a:noAutofit/>
          </a:bodyPr>
          <a:lstStyle>
            <a:lvl1pPr algn="l">
              <a:defRPr sz="980">
                <a:solidFill>
                  <a:schemeClr val="tx1">
                    <a:lumMod val="75000"/>
                    <a:lumOff val="25000"/>
                  </a:schemeClr>
                </a:solidFill>
              </a:defRPr>
            </a:lvl1pPr>
          </a:lstStyle>
          <a:p>
            <a:endParaRPr lang="nb-NO"/>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7213600" y="6410592"/>
            <a:ext cx="2743200" cy="150811"/>
          </a:xfrm>
          <a:prstGeom prst="rect">
            <a:avLst/>
          </a:prstGeom>
        </p:spPr>
        <p:txBody>
          <a:bodyPr vert="horz" lIns="0" tIns="0" rIns="0" bIns="0" rtlCol="0" anchor="ctr">
            <a:noAutofit/>
          </a:bodyPr>
          <a:lstStyle>
            <a:lvl1pPr algn="l" fontAlgn="ctr">
              <a:defRPr sz="980">
                <a:solidFill>
                  <a:schemeClr val="tx1">
                    <a:lumMod val="75000"/>
                    <a:lumOff val="25000"/>
                  </a:schemeClr>
                </a:solidFill>
              </a:defRPr>
            </a:lvl1pPr>
          </a:lstStyle>
          <a:p>
            <a:fld id="{E6A610A8-4EE9-470C-972D-0E41A2C50444}" type="datetimeFigureOut">
              <a:rPr lang="nb-NO" smtClean="0"/>
              <a:pPr/>
              <a:t>14.03.2026</a:t>
            </a:fld>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515600" y="6410592"/>
            <a:ext cx="1168400" cy="150811"/>
          </a:xfrm>
          <a:prstGeom prst="rect">
            <a:avLst/>
          </a:prstGeom>
        </p:spPr>
        <p:txBody>
          <a:bodyPr vert="horz" lIns="0" tIns="0" rIns="0" bIns="0" rtlCol="0" anchor="ctr">
            <a:noAutofit/>
          </a:bodyPr>
          <a:lstStyle>
            <a:lvl1pPr algn="r">
              <a:defRPr sz="980">
                <a:solidFill>
                  <a:schemeClr val="tx1">
                    <a:lumMod val="75000"/>
                    <a:lumOff val="25000"/>
                  </a:schemeClr>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279874002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718" r:id="rId4"/>
    <p:sldLayoutId id="2147483716" r:id="rId5"/>
    <p:sldLayoutId id="2147483717" r:id="rId6"/>
    <p:sldLayoutId id="2147483691" r:id="rId7"/>
    <p:sldLayoutId id="2147483719" r:id="rId8"/>
    <p:sldLayoutId id="2147483692" r:id="rId9"/>
    <p:sldLayoutId id="2147483720" r:id="rId10"/>
    <p:sldLayoutId id="2147483754" r:id="rId11"/>
    <p:sldLayoutId id="2147483756" r:id="rId12"/>
    <p:sldLayoutId id="2147483757" r:id="rId13"/>
    <p:sldLayoutId id="2147483879" r:id="rId14"/>
  </p:sldLayoutIdLst>
  <p:txStyles>
    <p:titleStyle>
      <a:lvl1pPr algn="l" defTabSz="914400" rtl="0" eaLnBrk="1" fontAlgn="ctr" latinLnBrk="0" hangingPunct="1">
        <a:lnSpc>
          <a:spcPct val="100000"/>
        </a:lnSpc>
        <a:spcBef>
          <a:spcPct val="0"/>
        </a:spcBef>
        <a:buNone/>
        <a:defRPr sz="3750" kern="1200">
          <a:solidFill>
            <a:schemeClr val="tx2"/>
          </a:solidFill>
          <a:latin typeface="+mj-lt"/>
          <a:ea typeface="+mj-ea"/>
          <a:cs typeface="+mj-cs"/>
        </a:defRPr>
      </a:lvl1pPr>
    </p:titleStyle>
    <p:bodyStyle>
      <a:lvl1pPr marL="257175" indent="-257175" algn="l" defTabSz="914400" rtl="0" eaLnBrk="1" fontAlgn="ctr" latinLnBrk="0" hangingPunct="1">
        <a:lnSpc>
          <a:spcPct val="100000"/>
        </a:lnSpc>
        <a:spcBef>
          <a:spcPts val="1000"/>
        </a:spcBef>
        <a:buClr>
          <a:schemeClr val="tx2"/>
        </a:buClr>
        <a:buFont typeface="Avenir Next LT Pro" panose="020B0504020202020204" pitchFamily="34" charset="0"/>
        <a:buChar char="•"/>
        <a:defRPr sz="2400" kern="1200">
          <a:solidFill>
            <a:schemeClr val="tx1"/>
          </a:solidFill>
          <a:latin typeface="+mn-lt"/>
          <a:ea typeface="+mn-ea"/>
          <a:cs typeface="+mn-cs"/>
        </a:defRPr>
      </a:lvl1pPr>
      <a:lvl2pPr marL="685800" indent="-228600" algn="l" defTabSz="914400" rtl="0" eaLnBrk="1" fontAlgn="ctr" latinLnBrk="0" hangingPunct="1">
        <a:lnSpc>
          <a:spcPct val="100000"/>
        </a:lnSpc>
        <a:spcBef>
          <a:spcPts val="500"/>
        </a:spcBef>
        <a:buFont typeface="Avenir Next LT Pro" panose="020B0504020202020204" pitchFamily="34" charset="0"/>
        <a:buChar char="–"/>
        <a:defRPr sz="2400" kern="1200">
          <a:solidFill>
            <a:schemeClr val="tx1"/>
          </a:solidFill>
          <a:latin typeface="+mn-lt"/>
          <a:ea typeface="+mn-ea"/>
          <a:cs typeface="+mn-cs"/>
        </a:defRPr>
      </a:lvl2pPr>
      <a:lvl3pPr marL="1143000" indent="-228600" algn="l" defTabSz="914400" rtl="0" eaLnBrk="1" fontAlgn="ctr" latinLnBrk="0" hangingPunct="1">
        <a:lnSpc>
          <a:spcPct val="100000"/>
        </a:lnSpc>
        <a:spcBef>
          <a:spcPts val="500"/>
        </a:spcBef>
        <a:buFont typeface="Avenir Next LT Pro" panose="020B0504020202020204" pitchFamily="34" charset="0"/>
        <a:buChar char="–"/>
        <a:defRPr sz="1920" kern="1200">
          <a:solidFill>
            <a:schemeClr val="tx1"/>
          </a:solidFill>
          <a:latin typeface="+mn-lt"/>
          <a:ea typeface="+mn-ea"/>
          <a:cs typeface="+mn-cs"/>
        </a:defRPr>
      </a:lvl3pPr>
      <a:lvl4pPr marL="0" indent="0" algn="l" defTabSz="914400" rtl="0" eaLnBrk="1" fontAlgn="ctr" latinLnBrk="0" hangingPunct="1">
        <a:lnSpc>
          <a:spcPct val="100000"/>
        </a:lnSpc>
        <a:spcBef>
          <a:spcPts val="1000"/>
        </a:spcBef>
        <a:buFont typeface="Wingdings" panose="05000000000000000000" pitchFamily="2" charset="2"/>
        <a:buNone/>
        <a:defRPr sz="2400" kern="1200">
          <a:solidFill>
            <a:schemeClr val="tx2"/>
          </a:solidFill>
          <a:latin typeface="+mj-lt"/>
          <a:ea typeface="+mn-ea"/>
          <a:cs typeface="+mn-cs"/>
        </a:defRPr>
      </a:lvl4pPr>
      <a:lvl5pPr marL="0" indent="0" algn="l" defTabSz="914400" rtl="0" eaLnBrk="1" fontAlgn="ctr" latinLnBrk="0" hangingPunct="1">
        <a:lnSpc>
          <a:spcPct val="100000"/>
        </a:lnSpc>
        <a:spcBef>
          <a:spcPts val="1000"/>
        </a:spcBef>
        <a:buFont typeface="Wingdings" panose="05000000000000000000" pitchFamily="2" charset="2"/>
        <a:buNone/>
        <a:defRPr sz="1920" kern="1200">
          <a:solidFill>
            <a:schemeClr val="tx2"/>
          </a:solidFill>
          <a:latin typeface="+mj-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0" userDrawn="1">
          <p15:clr>
            <a:srgbClr val="9FCC3B"/>
          </p15:clr>
        </p15:guide>
        <p15:guide id="3" pos="723" userDrawn="1">
          <p15:clr>
            <a:srgbClr val="9FCC3B"/>
          </p15:clr>
        </p15:guide>
        <p15:guide id="4" pos="937" userDrawn="1">
          <p15:clr>
            <a:srgbClr val="9FCC3B"/>
          </p15:clr>
        </p15:guide>
        <p15:guide id="5" pos="1326" userDrawn="1">
          <p15:clr>
            <a:srgbClr val="9FCC3B"/>
          </p15:clr>
        </p15:guide>
        <p15:guide id="6" pos="1527" userDrawn="1">
          <p15:clr>
            <a:srgbClr val="9FCC3B"/>
          </p15:clr>
        </p15:guide>
        <p15:guide id="7" pos="1929" userDrawn="1">
          <p15:clr>
            <a:srgbClr val="9FCC3B"/>
          </p15:clr>
        </p15:guide>
        <p15:guide id="8" pos="2130" userDrawn="1">
          <p15:clr>
            <a:srgbClr val="9FCC3B"/>
          </p15:clr>
        </p15:guide>
        <p15:guide id="9" pos="2533" userDrawn="1">
          <p15:clr>
            <a:srgbClr val="9FCC3B"/>
          </p15:clr>
        </p15:guide>
        <p15:guide id="10" pos="2734" userDrawn="1">
          <p15:clr>
            <a:srgbClr val="9FCC3B"/>
          </p15:clr>
        </p15:guide>
        <p15:guide id="11" pos="3137" userDrawn="1">
          <p15:clr>
            <a:srgbClr val="9FCC3B"/>
          </p15:clr>
        </p15:guide>
        <p15:guide id="12" pos="3336" userDrawn="1">
          <p15:clr>
            <a:srgbClr val="9FCC3B"/>
          </p15:clr>
        </p15:guide>
        <p15:guide id="13" pos="3739" userDrawn="1">
          <p15:clr>
            <a:srgbClr val="9FCC3B"/>
          </p15:clr>
        </p15:guide>
        <p15:guide id="14" pos="3940" userDrawn="1">
          <p15:clr>
            <a:srgbClr val="9FCC3B"/>
          </p15:clr>
        </p15:guide>
        <p15:guide id="15" pos="4343" userDrawn="1">
          <p15:clr>
            <a:srgbClr val="9FCC3B"/>
          </p15:clr>
        </p15:guide>
        <p15:guide id="16" pos="4544" userDrawn="1">
          <p15:clr>
            <a:srgbClr val="9FCC3B"/>
          </p15:clr>
        </p15:guide>
        <p15:guide id="17" pos="4946" userDrawn="1">
          <p15:clr>
            <a:srgbClr val="9FCC3B"/>
          </p15:clr>
        </p15:guide>
        <p15:guide id="18" pos="5147" userDrawn="1">
          <p15:clr>
            <a:srgbClr val="9FCC3B"/>
          </p15:clr>
        </p15:guide>
        <p15:guide id="19" pos="5549" userDrawn="1">
          <p15:clr>
            <a:srgbClr val="9FCC3B"/>
          </p15:clr>
        </p15:guide>
        <p15:guide id="20" pos="5750" userDrawn="1">
          <p15:clr>
            <a:srgbClr val="9FCC3B"/>
          </p15:clr>
        </p15:guide>
        <p15:guide id="21" pos="6153" userDrawn="1">
          <p15:clr>
            <a:srgbClr val="9FCC3B"/>
          </p15:clr>
        </p15:guide>
        <p15:guide id="22" pos="6354" userDrawn="1">
          <p15:clr>
            <a:srgbClr val="9FCC3B"/>
          </p15:clr>
        </p15:guide>
        <p15:guide id="23" pos="6756" userDrawn="1">
          <p15:clr>
            <a:srgbClr val="9FCC3B"/>
          </p15:clr>
        </p15:guide>
        <p15:guide id="24" pos="6957" userDrawn="1">
          <p15:clr>
            <a:srgbClr val="9FCC3B"/>
          </p15:clr>
        </p15:guide>
        <p15:guide id="25" orient="horz" pos="399" userDrawn="1">
          <p15:clr>
            <a:srgbClr val="9FCC3B"/>
          </p15:clr>
        </p15:guide>
        <p15:guide id="26" orient="horz" pos="1120" userDrawn="1">
          <p15:clr>
            <a:srgbClr val="9FCC3B"/>
          </p15:clr>
        </p15:guide>
        <p15:guide id="28" pos="7360" userDrawn="1">
          <p15:clr>
            <a:srgbClr val="9FCC3B"/>
          </p15:clr>
        </p15:guide>
        <p15:guide id="29" orient="horz" pos="3851"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508000" y="518584"/>
            <a:ext cx="11176000" cy="577081"/>
          </a:xfrm>
          <a:prstGeom prst="rect">
            <a:avLst/>
          </a:prstGeom>
        </p:spPr>
        <p:txBody>
          <a:bodyPr vert="horz"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508000" y="1702863"/>
            <a:ext cx="11176000" cy="4411132"/>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oolsToo_Slide" descr="ToolsToo_Slide">
            <a:extLst>
              <a:ext uri="{FF2B5EF4-FFF2-40B4-BE49-F238E27FC236}">
                <a16:creationId xmlns:a16="http://schemas.microsoft.com/office/drawing/2014/main" id="{1F81589F-B3E4-6835-96B5-8B1A21C3D8A0}"/>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Symbol">
            <a:extLst>
              <a:ext uri="{FF2B5EF4-FFF2-40B4-BE49-F238E27FC236}">
                <a16:creationId xmlns:a16="http://schemas.microsoft.com/office/drawing/2014/main" id="{2EF4E811-DCBC-0433-C3F8-59AFEA9DC4D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5"/>
              </a:ext>
            </a:extLst>
          </a:blip>
          <a:stretch>
            <a:fillRect/>
          </a:stretch>
        </p:blipFill>
        <p:spPr>
          <a:xfrm>
            <a:off x="482639" y="6298141"/>
            <a:ext cx="308517" cy="343036"/>
          </a:xfrm>
          <a:prstGeom prst="rect">
            <a:avLst/>
          </a:prstGeom>
        </p:spPr>
      </p:pic>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487488" y="6410592"/>
            <a:ext cx="4114800" cy="150811"/>
          </a:xfrm>
          <a:prstGeom prst="rect">
            <a:avLst/>
          </a:prstGeom>
        </p:spPr>
        <p:txBody>
          <a:bodyPr vert="horz" lIns="0" tIns="0" rIns="0" bIns="0" rtlCol="0" anchor="ctr">
            <a:noAutofit/>
          </a:bodyPr>
          <a:lstStyle>
            <a:lvl1pPr algn="l">
              <a:defRPr sz="980">
                <a:solidFill>
                  <a:schemeClr val="tx1">
                    <a:lumMod val="75000"/>
                    <a:lumOff val="25000"/>
                  </a:schemeClr>
                </a:solidFill>
              </a:defRPr>
            </a:lvl1pPr>
          </a:lstStyle>
          <a:p>
            <a:endParaRPr lang="nb-NO"/>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7213600" y="6410592"/>
            <a:ext cx="2743200" cy="150811"/>
          </a:xfrm>
          <a:prstGeom prst="rect">
            <a:avLst/>
          </a:prstGeom>
        </p:spPr>
        <p:txBody>
          <a:bodyPr vert="horz" lIns="0" tIns="0" rIns="0" bIns="0" rtlCol="0" anchor="ctr">
            <a:noAutofit/>
          </a:bodyPr>
          <a:lstStyle>
            <a:lvl1pPr algn="l" fontAlgn="ctr">
              <a:defRPr sz="980">
                <a:solidFill>
                  <a:schemeClr val="tx1">
                    <a:lumMod val="75000"/>
                    <a:lumOff val="25000"/>
                  </a:schemeClr>
                </a:solidFill>
              </a:defRPr>
            </a:lvl1pPr>
          </a:lstStyle>
          <a:p>
            <a:fld id="{E6A610A8-4EE9-470C-972D-0E41A2C50444}" type="datetimeFigureOut">
              <a:rPr lang="nb-NO" smtClean="0"/>
              <a:pPr/>
              <a:t>14.03.2026</a:t>
            </a:fld>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515600" y="6410592"/>
            <a:ext cx="1168400" cy="150811"/>
          </a:xfrm>
          <a:prstGeom prst="rect">
            <a:avLst/>
          </a:prstGeom>
        </p:spPr>
        <p:txBody>
          <a:bodyPr vert="horz" lIns="0" tIns="0" rIns="0" bIns="0" rtlCol="0" anchor="ctr">
            <a:noAutofit/>
          </a:bodyPr>
          <a:lstStyle>
            <a:lvl1pPr algn="r">
              <a:defRPr sz="980">
                <a:solidFill>
                  <a:schemeClr val="tx1">
                    <a:lumMod val="75000"/>
                    <a:lumOff val="25000"/>
                  </a:schemeClr>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145401495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7" r:id="rId20"/>
    <p:sldLayoutId id="2147483748" r:id="rId21"/>
    <p:sldLayoutId id="2147483749" r:id="rId22"/>
    <p:sldLayoutId id="2147483751" r:id="rId23"/>
  </p:sldLayoutIdLst>
  <p:txStyles>
    <p:titleStyle>
      <a:lvl1pPr algn="l" defTabSz="914400" rtl="0" eaLnBrk="1" fontAlgn="ctr" latinLnBrk="0" hangingPunct="1">
        <a:lnSpc>
          <a:spcPct val="100000"/>
        </a:lnSpc>
        <a:spcBef>
          <a:spcPct val="0"/>
        </a:spcBef>
        <a:buNone/>
        <a:defRPr sz="3750" kern="1200">
          <a:solidFill>
            <a:schemeClr val="tx2"/>
          </a:solidFill>
          <a:latin typeface="+mj-lt"/>
          <a:ea typeface="+mj-ea"/>
          <a:cs typeface="+mj-cs"/>
        </a:defRPr>
      </a:lvl1pPr>
    </p:titleStyle>
    <p:bodyStyle>
      <a:lvl1pPr marL="257175" indent="-257175" algn="l" defTabSz="914400" rtl="0" eaLnBrk="1" fontAlgn="ctr" latinLnBrk="0" hangingPunct="1">
        <a:lnSpc>
          <a:spcPct val="100000"/>
        </a:lnSpc>
        <a:spcBef>
          <a:spcPts val="1000"/>
        </a:spcBef>
        <a:buClr>
          <a:schemeClr val="tx2"/>
        </a:buClr>
        <a:buFont typeface="Avenir Next LT Pro" panose="020B0504020202020204" pitchFamily="34" charset="0"/>
        <a:buChar char="•"/>
        <a:defRPr sz="2400" kern="1200">
          <a:solidFill>
            <a:schemeClr val="tx1"/>
          </a:solidFill>
          <a:latin typeface="+mn-lt"/>
          <a:ea typeface="+mn-ea"/>
          <a:cs typeface="+mn-cs"/>
        </a:defRPr>
      </a:lvl1pPr>
      <a:lvl2pPr marL="685800" indent="-228600" algn="l" defTabSz="914400" rtl="0" eaLnBrk="1" fontAlgn="ctr" latinLnBrk="0" hangingPunct="1">
        <a:lnSpc>
          <a:spcPct val="100000"/>
        </a:lnSpc>
        <a:spcBef>
          <a:spcPts val="500"/>
        </a:spcBef>
        <a:buFont typeface="Avenir Next LT Pro" panose="020B0504020202020204" pitchFamily="34" charset="0"/>
        <a:buChar char="–"/>
        <a:defRPr sz="2400" kern="1200">
          <a:solidFill>
            <a:schemeClr val="tx1"/>
          </a:solidFill>
          <a:latin typeface="+mn-lt"/>
          <a:ea typeface="+mn-ea"/>
          <a:cs typeface="+mn-cs"/>
        </a:defRPr>
      </a:lvl2pPr>
      <a:lvl3pPr marL="1143000" indent="-228600" algn="l" defTabSz="914400" rtl="0" eaLnBrk="1" fontAlgn="ctr" latinLnBrk="0" hangingPunct="1">
        <a:lnSpc>
          <a:spcPct val="100000"/>
        </a:lnSpc>
        <a:spcBef>
          <a:spcPts val="500"/>
        </a:spcBef>
        <a:buFont typeface="Avenir Next LT Pro" panose="020B0504020202020204" pitchFamily="34" charset="0"/>
        <a:buChar char="–"/>
        <a:defRPr sz="1920" kern="1200">
          <a:solidFill>
            <a:schemeClr val="tx1"/>
          </a:solidFill>
          <a:latin typeface="+mn-lt"/>
          <a:ea typeface="+mn-ea"/>
          <a:cs typeface="+mn-cs"/>
        </a:defRPr>
      </a:lvl3pPr>
      <a:lvl4pPr marL="0" indent="0" algn="l" defTabSz="914400" rtl="0" eaLnBrk="1" fontAlgn="ctr" latinLnBrk="0" hangingPunct="1">
        <a:lnSpc>
          <a:spcPct val="100000"/>
        </a:lnSpc>
        <a:spcBef>
          <a:spcPts val="1000"/>
        </a:spcBef>
        <a:buFont typeface="Wingdings" panose="05000000000000000000" pitchFamily="2" charset="2"/>
        <a:buNone/>
        <a:defRPr sz="2400" kern="1200">
          <a:solidFill>
            <a:schemeClr val="tx2"/>
          </a:solidFill>
          <a:latin typeface="+mj-lt"/>
          <a:ea typeface="+mn-ea"/>
          <a:cs typeface="+mn-cs"/>
        </a:defRPr>
      </a:lvl4pPr>
      <a:lvl5pPr marL="0" indent="0" algn="l" defTabSz="914400" rtl="0" eaLnBrk="1" fontAlgn="ctr" latinLnBrk="0" hangingPunct="1">
        <a:lnSpc>
          <a:spcPct val="100000"/>
        </a:lnSpc>
        <a:spcBef>
          <a:spcPts val="1000"/>
        </a:spcBef>
        <a:buFont typeface="Wingdings" panose="05000000000000000000" pitchFamily="2" charset="2"/>
        <a:buNone/>
        <a:defRPr sz="1920" kern="1200">
          <a:solidFill>
            <a:schemeClr val="tx2"/>
          </a:solidFill>
          <a:latin typeface="+mj-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0">
          <p15:clr>
            <a:srgbClr val="9FCC3B"/>
          </p15:clr>
        </p15:guide>
        <p15:guide id="3" pos="723">
          <p15:clr>
            <a:srgbClr val="9FCC3B"/>
          </p15:clr>
        </p15:guide>
        <p15:guide id="4" pos="937">
          <p15:clr>
            <a:srgbClr val="9FCC3B"/>
          </p15:clr>
        </p15:guide>
        <p15:guide id="5" pos="1326">
          <p15:clr>
            <a:srgbClr val="9FCC3B"/>
          </p15:clr>
        </p15:guide>
        <p15:guide id="6" pos="1527">
          <p15:clr>
            <a:srgbClr val="9FCC3B"/>
          </p15:clr>
        </p15:guide>
        <p15:guide id="7" pos="1929">
          <p15:clr>
            <a:srgbClr val="9FCC3B"/>
          </p15:clr>
        </p15:guide>
        <p15:guide id="8" pos="2130">
          <p15:clr>
            <a:srgbClr val="9FCC3B"/>
          </p15:clr>
        </p15:guide>
        <p15:guide id="9" pos="2533">
          <p15:clr>
            <a:srgbClr val="9FCC3B"/>
          </p15:clr>
        </p15:guide>
        <p15:guide id="10" pos="2734">
          <p15:clr>
            <a:srgbClr val="9FCC3B"/>
          </p15:clr>
        </p15:guide>
        <p15:guide id="11" pos="3137">
          <p15:clr>
            <a:srgbClr val="9FCC3B"/>
          </p15:clr>
        </p15:guide>
        <p15:guide id="12" pos="3336">
          <p15:clr>
            <a:srgbClr val="9FCC3B"/>
          </p15:clr>
        </p15:guide>
        <p15:guide id="13" pos="3739">
          <p15:clr>
            <a:srgbClr val="9FCC3B"/>
          </p15:clr>
        </p15:guide>
        <p15:guide id="14" pos="3940">
          <p15:clr>
            <a:srgbClr val="9FCC3B"/>
          </p15:clr>
        </p15:guide>
        <p15:guide id="15" pos="4343">
          <p15:clr>
            <a:srgbClr val="9FCC3B"/>
          </p15:clr>
        </p15:guide>
        <p15:guide id="16" pos="4544">
          <p15:clr>
            <a:srgbClr val="9FCC3B"/>
          </p15:clr>
        </p15:guide>
        <p15:guide id="17" pos="4946">
          <p15:clr>
            <a:srgbClr val="9FCC3B"/>
          </p15:clr>
        </p15:guide>
        <p15:guide id="18" pos="5147">
          <p15:clr>
            <a:srgbClr val="9FCC3B"/>
          </p15:clr>
        </p15:guide>
        <p15:guide id="19" pos="5549">
          <p15:clr>
            <a:srgbClr val="9FCC3B"/>
          </p15:clr>
        </p15:guide>
        <p15:guide id="20" pos="5750">
          <p15:clr>
            <a:srgbClr val="9FCC3B"/>
          </p15:clr>
        </p15:guide>
        <p15:guide id="21" pos="6153">
          <p15:clr>
            <a:srgbClr val="9FCC3B"/>
          </p15:clr>
        </p15:guide>
        <p15:guide id="22" pos="6354">
          <p15:clr>
            <a:srgbClr val="9FCC3B"/>
          </p15:clr>
        </p15:guide>
        <p15:guide id="23" pos="6756">
          <p15:clr>
            <a:srgbClr val="9FCC3B"/>
          </p15:clr>
        </p15:guide>
        <p15:guide id="24" pos="6957">
          <p15:clr>
            <a:srgbClr val="9FCC3B"/>
          </p15:clr>
        </p15:guide>
        <p15:guide id="25" orient="horz" pos="399">
          <p15:clr>
            <a:srgbClr val="9FCC3B"/>
          </p15:clr>
        </p15:guide>
        <p15:guide id="26" orient="horz" pos="1120">
          <p15:clr>
            <a:srgbClr val="9FCC3B"/>
          </p15:clr>
        </p15:guide>
        <p15:guide id="28" pos="7360">
          <p15:clr>
            <a:srgbClr val="9FCC3B"/>
          </p15:clr>
        </p15:guide>
        <p15:guide id="29" orient="horz" pos="3851">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508000" y="518584"/>
            <a:ext cx="11176000" cy="577081"/>
          </a:xfrm>
          <a:prstGeom prst="rect">
            <a:avLst/>
          </a:prstGeom>
        </p:spPr>
        <p:txBody>
          <a:bodyPr vert="horz"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508000" y="1702863"/>
            <a:ext cx="11176000" cy="4411132"/>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oolsToo_Slide" descr="ToolsToo_Slide">
            <a:extLst>
              <a:ext uri="{FF2B5EF4-FFF2-40B4-BE49-F238E27FC236}">
                <a16:creationId xmlns:a16="http://schemas.microsoft.com/office/drawing/2014/main" id="{1F81589F-B3E4-6835-96B5-8B1A21C3D8A0}"/>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Symbol">
            <a:extLst>
              <a:ext uri="{FF2B5EF4-FFF2-40B4-BE49-F238E27FC236}">
                <a16:creationId xmlns:a16="http://schemas.microsoft.com/office/drawing/2014/main" id="{2EF4E811-DCBC-0433-C3F8-59AFEA9DC4D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3"/>
              </a:ext>
            </a:extLst>
          </a:blip>
          <a:stretch>
            <a:fillRect/>
          </a:stretch>
        </p:blipFill>
        <p:spPr>
          <a:xfrm>
            <a:off x="482639" y="6298141"/>
            <a:ext cx="308517" cy="343036"/>
          </a:xfrm>
          <a:prstGeom prst="rect">
            <a:avLst/>
          </a:prstGeom>
        </p:spPr>
      </p:pic>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487488" y="6410592"/>
            <a:ext cx="4114800" cy="150811"/>
          </a:xfrm>
          <a:prstGeom prst="rect">
            <a:avLst/>
          </a:prstGeom>
        </p:spPr>
        <p:txBody>
          <a:bodyPr vert="horz" lIns="0" tIns="0" rIns="0" bIns="0" rtlCol="0" anchor="ctr">
            <a:noAutofit/>
          </a:bodyPr>
          <a:lstStyle>
            <a:lvl1pPr algn="l">
              <a:defRPr sz="980">
                <a:solidFill>
                  <a:schemeClr val="tx1">
                    <a:lumMod val="75000"/>
                    <a:lumOff val="25000"/>
                  </a:schemeClr>
                </a:solidFill>
              </a:defRPr>
            </a:lvl1pPr>
          </a:lstStyle>
          <a:p>
            <a:endParaRPr lang="nb-NO"/>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7213600" y="6410592"/>
            <a:ext cx="2743200" cy="150811"/>
          </a:xfrm>
          <a:prstGeom prst="rect">
            <a:avLst/>
          </a:prstGeom>
        </p:spPr>
        <p:txBody>
          <a:bodyPr vert="horz" lIns="0" tIns="0" rIns="0" bIns="0" rtlCol="0" anchor="ctr">
            <a:noAutofit/>
          </a:bodyPr>
          <a:lstStyle>
            <a:lvl1pPr algn="l" fontAlgn="ctr">
              <a:defRPr sz="980">
                <a:solidFill>
                  <a:schemeClr val="tx1">
                    <a:lumMod val="75000"/>
                    <a:lumOff val="25000"/>
                  </a:schemeClr>
                </a:solidFill>
              </a:defRPr>
            </a:lvl1pPr>
          </a:lstStyle>
          <a:p>
            <a:fld id="{E6A610A8-4EE9-470C-972D-0E41A2C50444}" type="datetimeFigureOut">
              <a:rPr lang="nb-NO" smtClean="0"/>
              <a:pPr/>
              <a:t>14.03.2026</a:t>
            </a:fld>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515600" y="6410592"/>
            <a:ext cx="1168400" cy="150811"/>
          </a:xfrm>
          <a:prstGeom prst="rect">
            <a:avLst/>
          </a:prstGeom>
        </p:spPr>
        <p:txBody>
          <a:bodyPr vert="horz" lIns="0" tIns="0" rIns="0" bIns="0" rtlCol="0" anchor="ctr">
            <a:noAutofit/>
          </a:bodyPr>
          <a:lstStyle>
            <a:lvl1pPr algn="r">
              <a:defRPr sz="980">
                <a:solidFill>
                  <a:schemeClr val="tx1">
                    <a:lumMod val="75000"/>
                    <a:lumOff val="25000"/>
                  </a:schemeClr>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2600114038"/>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Lst>
  <p:txStyles>
    <p:titleStyle>
      <a:lvl1pPr algn="l" defTabSz="914400" rtl="0" eaLnBrk="1" fontAlgn="ctr" latinLnBrk="0" hangingPunct="1">
        <a:lnSpc>
          <a:spcPct val="100000"/>
        </a:lnSpc>
        <a:spcBef>
          <a:spcPct val="0"/>
        </a:spcBef>
        <a:buNone/>
        <a:defRPr sz="3750" kern="1200">
          <a:solidFill>
            <a:schemeClr val="tx2"/>
          </a:solidFill>
          <a:latin typeface="+mj-lt"/>
          <a:ea typeface="+mj-ea"/>
          <a:cs typeface="+mj-cs"/>
        </a:defRPr>
      </a:lvl1pPr>
    </p:titleStyle>
    <p:bodyStyle>
      <a:lvl1pPr marL="257175" indent="-257175" algn="l" defTabSz="914400" rtl="0" eaLnBrk="1" fontAlgn="ctr" latinLnBrk="0" hangingPunct="1">
        <a:lnSpc>
          <a:spcPct val="100000"/>
        </a:lnSpc>
        <a:spcBef>
          <a:spcPts val="1000"/>
        </a:spcBef>
        <a:buClr>
          <a:schemeClr val="tx2"/>
        </a:buClr>
        <a:buFont typeface="Avenir Next LT Pro" panose="020B0504020202020204" pitchFamily="34" charset="0"/>
        <a:buChar char="•"/>
        <a:defRPr sz="2400" kern="1200">
          <a:solidFill>
            <a:schemeClr val="tx1"/>
          </a:solidFill>
          <a:latin typeface="+mn-lt"/>
          <a:ea typeface="+mn-ea"/>
          <a:cs typeface="+mn-cs"/>
        </a:defRPr>
      </a:lvl1pPr>
      <a:lvl2pPr marL="685800" indent="-228600" algn="l" defTabSz="914400" rtl="0" eaLnBrk="1" fontAlgn="ctr" latinLnBrk="0" hangingPunct="1">
        <a:lnSpc>
          <a:spcPct val="100000"/>
        </a:lnSpc>
        <a:spcBef>
          <a:spcPts val="500"/>
        </a:spcBef>
        <a:buFont typeface="Avenir Next LT Pro" panose="020B0504020202020204" pitchFamily="34" charset="0"/>
        <a:buChar char="–"/>
        <a:defRPr sz="2400" kern="1200">
          <a:solidFill>
            <a:schemeClr val="tx1"/>
          </a:solidFill>
          <a:latin typeface="+mn-lt"/>
          <a:ea typeface="+mn-ea"/>
          <a:cs typeface="+mn-cs"/>
        </a:defRPr>
      </a:lvl2pPr>
      <a:lvl3pPr marL="1143000" indent="-228600" algn="l" defTabSz="914400" rtl="0" eaLnBrk="1" fontAlgn="ctr" latinLnBrk="0" hangingPunct="1">
        <a:lnSpc>
          <a:spcPct val="100000"/>
        </a:lnSpc>
        <a:spcBef>
          <a:spcPts val="500"/>
        </a:spcBef>
        <a:buFont typeface="Avenir Next LT Pro" panose="020B0504020202020204" pitchFamily="34" charset="0"/>
        <a:buChar char="–"/>
        <a:defRPr sz="1920" kern="1200">
          <a:solidFill>
            <a:schemeClr val="tx1"/>
          </a:solidFill>
          <a:latin typeface="+mn-lt"/>
          <a:ea typeface="+mn-ea"/>
          <a:cs typeface="+mn-cs"/>
        </a:defRPr>
      </a:lvl3pPr>
      <a:lvl4pPr marL="0" indent="0" algn="l" defTabSz="914400" rtl="0" eaLnBrk="1" fontAlgn="ctr" latinLnBrk="0" hangingPunct="1">
        <a:lnSpc>
          <a:spcPct val="100000"/>
        </a:lnSpc>
        <a:spcBef>
          <a:spcPts val="1000"/>
        </a:spcBef>
        <a:buFont typeface="Wingdings" panose="05000000000000000000" pitchFamily="2" charset="2"/>
        <a:buNone/>
        <a:defRPr sz="2400" kern="1200">
          <a:solidFill>
            <a:schemeClr val="tx2"/>
          </a:solidFill>
          <a:latin typeface="+mj-lt"/>
          <a:ea typeface="+mn-ea"/>
          <a:cs typeface="+mn-cs"/>
        </a:defRPr>
      </a:lvl4pPr>
      <a:lvl5pPr marL="0" indent="0" algn="l" defTabSz="914400" rtl="0" eaLnBrk="1" fontAlgn="ctr" latinLnBrk="0" hangingPunct="1">
        <a:lnSpc>
          <a:spcPct val="100000"/>
        </a:lnSpc>
        <a:spcBef>
          <a:spcPts val="1000"/>
        </a:spcBef>
        <a:buFont typeface="Wingdings" panose="05000000000000000000" pitchFamily="2" charset="2"/>
        <a:buNone/>
        <a:defRPr sz="1920" kern="1200">
          <a:solidFill>
            <a:schemeClr val="tx2"/>
          </a:solidFill>
          <a:latin typeface="+mj-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0">
          <p15:clr>
            <a:srgbClr val="9FCC3B"/>
          </p15:clr>
        </p15:guide>
        <p15:guide id="3" pos="723">
          <p15:clr>
            <a:srgbClr val="9FCC3B"/>
          </p15:clr>
        </p15:guide>
        <p15:guide id="4" pos="937">
          <p15:clr>
            <a:srgbClr val="9FCC3B"/>
          </p15:clr>
        </p15:guide>
        <p15:guide id="5" pos="1326">
          <p15:clr>
            <a:srgbClr val="9FCC3B"/>
          </p15:clr>
        </p15:guide>
        <p15:guide id="6" pos="1527">
          <p15:clr>
            <a:srgbClr val="9FCC3B"/>
          </p15:clr>
        </p15:guide>
        <p15:guide id="7" pos="1929">
          <p15:clr>
            <a:srgbClr val="9FCC3B"/>
          </p15:clr>
        </p15:guide>
        <p15:guide id="8" pos="2130">
          <p15:clr>
            <a:srgbClr val="9FCC3B"/>
          </p15:clr>
        </p15:guide>
        <p15:guide id="9" pos="2533">
          <p15:clr>
            <a:srgbClr val="9FCC3B"/>
          </p15:clr>
        </p15:guide>
        <p15:guide id="10" pos="2734">
          <p15:clr>
            <a:srgbClr val="9FCC3B"/>
          </p15:clr>
        </p15:guide>
        <p15:guide id="11" pos="3137">
          <p15:clr>
            <a:srgbClr val="9FCC3B"/>
          </p15:clr>
        </p15:guide>
        <p15:guide id="12" pos="3336">
          <p15:clr>
            <a:srgbClr val="9FCC3B"/>
          </p15:clr>
        </p15:guide>
        <p15:guide id="13" pos="3739">
          <p15:clr>
            <a:srgbClr val="9FCC3B"/>
          </p15:clr>
        </p15:guide>
        <p15:guide id="14" pos="3940">
          <p15:clr>
            <a:srgbClr val="9FCC3B"/>
          </p15:clr>
        </p15:guide>
        <p15:guide id="15" pos="4343">
          <p15:clr>
            <a:srgbClr val="9FCC3B"/>
          </p15:clr>
        </p15:guide>
        <p15:guide id="16" pos="4544">
          <p15:clr>
            <a:srgbClr val="9FCC3B"/>
          </p15:clr>
        </p15:guide>
        <p15:guide id="17" pos="4946">
          <p15:clr>
            <a:srgbClr val="9FCC3B"/>
          </p15:clr>
        </p15:guide>
        <p15:guide id="18" pos="5147">
          <p15:clr>
            <a:srgbClr val="9FCC3B"/>
          </p15:clr>
        </p15:guide>
        <p15:guide id="19" pos="5549">
          <p15:clr>
            <a:srgbClr val="9FCC3B"/>
          </p15:clr>
        </p15:guide>
        <p15:guide id="20" pos="5750">
          <p15:clr>
            <a:srgbClr val="9FCC3B"/>
          </p15:clr>
        </p15:guide>
        <p15:guide id="21" pos="6153">
          <p15:clr>
            <a:srgbClr val="9FCC3B"/>
          </p15:clr>
        </p15:guide>
        <p15:guide id="22" pos="6354">
          <p15:clr>
            <a:srgbClr val="9FCC3B"/>
          </p15:clr>
        </p15:guide>
        <p15:guide id="23" pos="6756">
          <p15:clr>
            <a:srgbClr val="9FCC3B"/>
          </p15:clr>
        </p15:guide>
        <p15:guide id="24" pos="6957">
          <p15:clr>
            <a:srgbClr val="9FCC3B"/>
          </p15:clr>
        </p15:guide>
        <p15:guide id="25" orient="horz" pos="399">
          <p15:clr>
            <a:srgbClr val="9FCC3B"/>
          </p15:clr>
        </p15:guide>
        <p15:guide id="26" orient="horz" pos="1120">
          <p15:clr>
            <a:srgbClr val="9FCC3B"/>
          </p15:clr>
        </p15:guide>
        <p15:guide id="28" pos="7360">
          <p15:clr>
            <a:srgbClr val="9FCC3B"/>
          </p15:clr>
        </p15:guide>
        <p15:guide id="29" orient="horz" pos="3851">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508000" y="518584"/>
            <a:ext cx="11176000" cy="577081"/>
          </a:xfrm>
          <a:prstGeom prst="rect">
            <a:avLst/>
          </a:prstGeom>
        </p:spPr>
        <p:txBody>
          <a:bodyPr vert="horz"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508000" y="1702863"/>
            <a:ext cx="11176000" cy="4411132"/>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oolsToo_Slide" descr="ToolsToo_Slide">
            <a:extLst>
              <a:ext uri="{FF2B5EF4-FFF2-40B4-BE49-F238E27FC236}">
                <a16:creationId xmlns:a16="http://schemas.microsoft.com/office/drawing/2014/main" id="{1F81589F-B3E4-6835-96B5-8B1A21C3D8A0}"/>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Symbol">
            <a:extLst>
              <a:ext uri="{FF2B5EF4-FFF2-40B4-BE49-F238E27FC236}">
                <a16:creationId xmlns:a16="http://schemas.microsoft.com/office/drawing/2014/main" id="{2EF4E811-DCBC-0433-C3F8-59AFEA9DC4D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9"/>
              </a:ext>
            </a:extLst>
          </a:blip>
          <a:stretch>
            <a:fillRect/>
          </a:stretch>
        </p:blipFill>
        <p:spPr>
          <a:xfrm>
            <a:off x="482639" y="6298141"/>
            <a:ext cx="308517" cy="343036"/>
          </a:xfrm>
          <a:prstGeom prst="rect">
            <a:avLst/>
          </a:prstGeom>
        </p:spPr>
      </p:pic>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487488" y="6410592"/>
            <a:ext cx="4114800" cy="150811"/>
          </a:xfrm>
          <a:prstGeom prst="rect">
            <a:avLst/>
          </a:prstGeom>
        </p:spPr>
        <p:txBody>
          <a:bodyPr vert="horz" lIns="0" tIns="0" rIns="0" bIns="0" rtlCol="0" anchor="ctr">
            <a:noAutofit/>
          </a:bodyPr>
          <a:lstStyle>
            <a:lvl1pPr algn="l">
              <a:defRPr sz="980">
                <a:solidFill>
                  <a:schemeClr val="tx1">
                    <a:lumMod val="75000"/>
                    <a:lumOff val="25000"/>
                  </a:schemeClr>
                </a:solidFill>
              </a:defRPr>
            </a:lvl1pPr>
          </a:lstStyle>
          <a:p>
            <a:endParaRPr lang="nb-NO"/>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7213600" y="6410592"/>
            <a:ext cx="2743200" cy="150811"/>
          </a:xfrm>
          <a:prstGeom prst="rect">
            <a:avLst/>
          </a:prstGeom>
        </p:spPr>
        <p:txBody>
          <a:bodyPr vert="horz" lIns="0" tIns="0" rIns="0" bIns="0" rtlCol="0" anchor="ctr">
            <a:noAutofit/>
          </a:bodyPr>
          <a:lstStyle>
            <a:lvl1pPr algn="l" fontAlgn="ctr">
              <a:defRPr sz="980">
                <a:solidFill>
                  <a:schemeClr val="tx1">
                    <a:lumMod val="75000"/>
                    <a:lumOff val="25000"/>
                  </a:schemeClr>
                </a:solidFill>
              </a:defRPr>
            </a:lvl1pPr>
          </a:lstStyle>
          <a:p>
            <a:fld id="{E6A610A8-4EE9-470C-972D-0E41A2C50444}" type="datetimeFigureOut">
              <a:rPr lang="nb-NO" smtClean="0"/>
              <a:pPr/>
              <a:t>14.03.2026</a:t>
            </a:fld>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515600" y="6410592"/>
            <a:ext cx="1168400" cy="150811"/>
          </a:xfrm>
          <a:prstGeom prst="rect">
            <a:avLst/>
          </a:prstGeom>
        </p:spPr>
        <p:txBody>
          <a:bodyPr vert="horz" lIns="0" tIns="0" rIns="0" bIns="0" rtlCol="0" anchor="ctr">
            <a:noAutofit/>
          </a:bodyPr>
          <a:lstStyle>
            <a:lvl1pPr algn="r">
              <a:defRPr sz="980">
                <a:solidFill>
                  <a:schemeClr val="tx1">
                    <a:lumMod val="75000"/>
                    <a:lumOff val="25000"/>
                  </a:schemeClr>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796829118"/>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4" r:id="rId15"/>
    <p:sldLayoutId id="2147483825" r:id="rId16"/>
    <p:sldLayoutId id="2147483827" r:id="rId17"/>
  </p:sldLayoutIdLst>
  <p:txStyles>
    <p:titleStyle>
      <a:lvl1pPr algn="l" defTabSz="914400" rtl="0" eaLnBrk="1" fontAlgn="ctr" latinLnBrk="0" hangingPunct="1">
        <a:lnSpc>
          <a:spcPct val="100000"/>
        </a:lnSpc>
        <a:spcBef>
          <a:spcPct val="0"/>
        </a:spcBef>
        <a:buNone/>
        <a:defRPr sz="3750" kern="1200">
          <a:solidFill>
            <a:schemeClr val="tx2"/>
          </a:solidFill>
          <a:latin typeface="+mj-lt"/>
          <a:ea typeface="+mj-ea"/>
          <a:cs typeface="+mj-cs"/>
        </a:defRPr>
      </a:lvl1pPr>
    </p:titleStyle>
    <p:bodyStyle>
      <a:lvl1pPr marL="257175" indent="-257175" algn="l" defTabSz="914400" rtl="0" eaLnBrk="1" fontAlgn="ctr" latinLnBrk="0" hangingPunct="1">
        <a:lnSpc>
          <a:spcPct val="100000"/>
        </a:lnSpc>
        <a:spcBef>
          <a:spcPts val="1000"/>
        </a:spcBef>
        <a:buClr>
          <a:schemeClr val="tx2"/>
        </a:buClr>
        <a:buFont typeface="Avenir Next LT Pro" panose="020B0504020202020204" pitchFamily="34" charset="0"/>
        <a:buChar char="•"/>
        <a:defRPr sz="2400" kern="1200">
          <a:solidFill>
            <a:schemeClr val="tx1"/>
          </a:solidFill>
          <a:latin typeface="+mn-lt"/>
          <a:ea typeface="+mn-ea"/>
          <a:cs typeface="+mn-cs"/>
        </a:defRPr>
      </a:lvl1pPr>
      <a:lvl2pPr marL="685800" indent="-228600" algn="l" defTabSz="914400" rtl="0" eaLnBrk="1" fontAlgn="ctr" latinLnBrk="0" hangingPunct="1">
        <a:lnSpc>
          <a:spcPct val="100000"/>
        </a:lnSpc>
        <a:spcBef>
          <a:spcPts val="500"/>
        </a:spcBef>
        <a:buFont typeface="Avenir Next LT Pro" panose="020B0504020202020204" pitchFamily="34" charset="0"/>
        <a:buChar char="–"/>
        <a:defRPr sz="2400" kern="1200">
          <a:solidFill>
            <a:schemeClr val="tx1"/>
          </a:solidFill>
          <a:latin typeface="+mn-lt"/>
          <a:ea typeface="+mn-ea"/>
          <a:cs typeface="+mn-cs"/>
        </a:defRPr>
      </a:lvl2pPr>
      <a:lvl3pPr marL="1143000" indent="-228600" algn="l" defTabSz="914400" rtl="0" eaLnBrk="1" fontAlgn="ctr" latinLnBrk="0" hangingPunct="1">
        <a:lnSpc>
          <a:spcPct val="100000"/>
        </a:lnSpc>
        <a:spcBef>
          <a:spcPts val="500"/>
        </a:spcBef>
        <a:buFont typeface="Avenir Next LT Pro" panose="020B0504020202020204" pitchFamily="34" charset="0"/>
        <a:buChar char="–"/>
        <a:defRPr sz="1920" kern="1200">
          <a:solidFill>
            <a:schemeClr val="tx1"/>
          </a:solidFill>
          <a:latin typeface="+mn-lt"/>
          <a:ea typeface="+mn-ea"/>
          <a:cs typeface="+mn-cs"/>
        </a:defRPr>
      </a:lvl3pPr>
      <a:lvl4pPr marL="0" indent="0" algn="l" defTabSz="914400" rtl="0" eaLnBrk="1" fontAlgn="ctr" latinLnBrk="0" hangingPunct="1">
        <a:lnSpc>
          <a:spcPct val="100000"/>
        </a:lnSpc>
        <a:spcBef>
          <a:spcPts val="1000"/>
        </a:spcBef>
        <a:buFont typeface="Wingdings" panose="05000000000000000000" pitchFamily="2" charset="2"/>
        <a:buNone/>
        <a:defRPr sz="2400" kern="1200">
          <a:solidFill>
            <a:schemeClr val="tx2"/>
          </a:solidFill>
          <a:latin typeface="+mj-lt"/>
          <a:ea typeface="+mn-ea"/>
          <a:cs typeface="+mn-cs"/>
        </a:defRPr>
      </a:lvl4pPr>
      <a:lvl5pPr marL="0" indent="0" algn="l" defTabSz="914400" rtl="0" eaLnBrk="1" fontAlgn="ctr" latinLnBrk="0" hangingPunct="1">
        <a:lnSpc>
          <a:spcPct val="100000"/>
        </a:lnSpc>
        <a:spcBef>
          <a:spcPts val="1000"/>
        </a:spcBef>
        <a:buFont typeface="Wingdings" panose="05000000000000000000" pitchFamily="2" charset="2"/>
        <a:buNone/>
        <a:defRPr sz="1920" kern="1200">
          <a:solidFill>
            <a:schemeClr val="tx2"/>
          </a:solidFill>
          <a:latin typeface="+mj-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0">
          <p15:clr>
            <a:srgbClr val="9FCC3B"/>
          </p15:clr>
        </p15:guide>
        <p15:guide id="3" pos="723">
          <p15:clr>
            <a:srgbClr val="9FCC3B"/>
          </p15:clr>
        </p15:guide>
        <p15:guide id="4" pos="937">
          <p15:clr>
            <a:srgbClr val="9FCC3B"/>
          </p15:clr>
        </p15:guide>
        <p15:guide id="5" pos="1326">
          <p15:clr>
            <a:srgbClr val="9FCC3B"/>
          </p15:clr>
        </p15:guide>
        <p15:guide id="6" pos="1527">
          <p15:clr>
            <a:srgbClr val="9FCC3B"/>
          </p15:clr>
        </p15:guide>
        <p15:guide id="7" pos="1929">
          <p15:clr>
            <a:srgbClr val="9FCC3B"/>
          </p15:clr>
        </p15:guide>
        <p15:guide id="8" pos="2130">
          <p15:clr>
            <a:srgbClr val="9FCC3B"/>
          </p15:clr>
        </p15:guide>
        <p15:guide id="9" pos="2533">
          <p15:clr>
            <a:srgbClr val="9FCC3B"/>
          </p15:clr>
        </p15:guide>
        <p15:guide id="10" pos="2734">
          <p15:clr>
            <a:srgbClr val="9FCC3B"/>
          </p15:clr>
        </p15:guide>
        <p15:guide id="11" pos="3137">
          <p15:clr>
            <a:srgbClr val="9FCC3B"/>
          </p15:clr>
        </p15:guide>
        <p15:guide id="12" pos="3336">
          <p15:clr>
            <a:srgbClr val="9FCC3B"/>
          </p15:clr>
        </p15:guide>
        <p15:guide id="13" pos="3739">
          <p15:clr>
            <a:srgbClr val="9FCC3B"/>
          </p15:clr>
        </p15:guide>
        <p15:guide id="14" pos="3940">
          <p15:clr>
            <a:srgbClr val="9FCC3B"/>
          </p15:clr>
        </p15:guide>
        <p15:guide id="15" pos="4343">
          <p15:clr>
            <a:srgbClr val="9FCC3B"/>
          </p15:clr>
        </p15:guide>
        <p15:guide id="16" pos="4544">
          <p15:clr>
            <a:srgbClr val="9FCC3B"/>
          </p15:clr>
        </p15:guide>
        <p15:guide id="17" pos="4946">
          <p15:clr>
            <a:srgbClr val="9FCC3B"/>
          </p15:clr>
        </p15:guide>
        <p15:guide id="18" pos="5147">
          <p15:clr>
            <a:srgbClr val="9FCC3B"/>
          </p15:clr>
        </p15:guide>
        <p15:guide id="19" pos="5549">
          <p15:clr>
            <a:srgbClr val="9FCC3B"/>
          </p15:clr>
        </p15:guide>
        <p15:guide id="20" pos="5750">
          <p15:clr>
            <a:srgbClr val="9FCC3B"/>
          </p15:clr>
        </p15:guide>
        <p15:guide id="21" pos="6153">
          <p15:clr>
            <a:srgbClr val="9FCC3B"/>
          </p15:clr>
        </p15:guide>
        <p15:guide id="22" pos="6354">
          <p15:clr>
            <a:srgbClr val="9FCC3B"/>
          </p15:clr>
        </p15:guide>
        <p15:guide id="23" pos="6756">
          <p15:clr>
            <a:srgbClr val="9FCC3B"/>
          </p15:clr>
        </p15:guide>
        <p15:guide id="24" pos="6957">
          <p15:clr>
            <a:srgbClr val="9FCC3B"/>
          </p15:clr>
        </p15:guide>
        <p15:guide id="25" orient="horz" pos="399">
          <p15:clr>
            <a:srgbClr val="9FCC3B"/>
          </p15:clr>
        </p15:guide>
        <p15:guide id="26" orient="horz" pos="1120">
          <p15:clr>
            <a:srgbClr val="9FCC3B"/>
          </p15:clr>
        </p15:guide>
        <p15:guide id="28" pos="7360">
          <p15:clr>
            <a:srgbClr val="9FCC3B"/>
          </p15:clr>
        </p15:guide>
        <p15:guide id="29" orient="horz" pos="3851">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6F5D7184-0BEB-43CD-BE6F-C413484FFC22}"/>
              </a:ext>
            </a:extLst>
          </p:cNvPr>
          <p:cNvSpPr/>
          <p:nvPr/>
        </p:nvSpPr>
        <p:spPr>
          <a:xfrm rot="16200000">
            <a:off x="11933047" y="358624"/>
            <a:ext cx="6401" cy="1217"/>
          </a:xfrm>
          <a:custGeom>
            <a:avLst/>
            <a:gdLst>
              <a:gd name="connsiteX0" fmla="*/ 6401 w 6401"/>
              <a:gd name="connsiteY0" fmla="*/ 1218 h 1217"/>
              <a:gd name="connsiteX1" fmla="*/ 0 w 6401"/>
              <a:gd name="connsiteY1" fmla="*/ 0 h 1217"/>
              <a:gd name="connsiteX2" fmla="*/ 6401 w 6401"/>
              <a:gd name="connsiteY2" fmla="*/ 1218 h 1217"/>
            </a:gdLst>
            <a:ahLst/>
            <a:cxnLst>
              <a:cxn ang="0">
                <a:pos x="connsiteX0" y="connsiteY0"/>
              </a:cxn>
              <a:cxn ang="0">
                <a:pos x="connsiteX1" y="connsiteY1"/>
              </a:cxn>
              <a:cxn ang="0">
                <a:pos x="connsiteX2" y="connsiteY2"/>
              </a:cxn>
            </a:cxnLst>
            <a:rect l="l" t="t" r="r" b="b"/>
            <a:pathLst>
              <a:path w="6401" h="1217">
                <a:moveTo>
                  <a:pt x="6401" y="1218"/>
                </a:moveTo>
                <a:cubicBezTo>
                  <a:pt x="4320" y="575"/>
                  <a:pt x="2172" y="166"/>
                  <a:pt x="0" y="0"/>
                </a:cubicBezTo>
                <a:cubicBezTo>
                  <a:pt x="2177" y="131"/>
                  <a:pt x="4328" y="540"/>
                  <a:pt x="6401" y="1218"/>
                </a:cubicBezTo>
                <a:close/>
              </a:path>
            </a:pathLst>
          </a:custGeom>
          <a:solidFill>
            <a:srgbClr val="11133C">
              <a:alpha val="55000"/>
            </a:srgbClr>
          </a:solidFill>
          <a:ln w="264" cap="flat">
            <a:noFill/>
            <a:prstDash val="solid"/>
            <a:miter/>
          </a:ln>
        </p:spPr>
        <p:txBody>
          <a:bodyPr rtlCol="0" anchor="ctr"/>
          <a:lstStyle/>
          <a:p>
            <a:endParaRPr lang="nb-NO" noProof="0"/>
          </a:p>
        </p:txBody>
      </p:sp>
      <p:grpSp>
        <p:nvGrpSpPr>
          <p:cNvPr id="11" name="Group 10">
            <a:extLst>
              <a:ext uri="{FF2B5EF4-FFF2-40B4-BE49-F238E27FC236}">
                <a16:creationId xmlns:a16="http://schemas.microsoft.com/office/drawing/2014/main" id="{EA39CE61-C786-4C3B-A697-6BF51CA7E57B}"/>
              </a:ext>
            </a:extLst>
          </p:cNvPr>
          <p:cNvGrpSpPr/>
          <p:nvPr userDrawn="1"/>
        </p:nvGrpSpPr>
        <p:grpSpPr>
          <a:xfrm>
            <a:off x="11870514" y="244569"/>
            <a:ext cx="151518" cy="609202"/>
            <a:chOff x="11870514" y="244569"/>
            <a:chExt cx="151518" cy="609202"/>
          </a:xfrm>
          <a:solidFill>
            <a:schemeClr val="bg2"/>
          </a:solidFill>
        </p:grpSpPr>
        <p:sp>
          <p:nvSpPr>
            <p:cNvPr id="8" name="Freeform: Shape 7">
              <a:extLst>
                <a:ext uri="{FF2B5EF4-FFF2-40B4-BE49-F238E27FC236}">
                  <a16:creationId xmlns:a16="http://schemas.microsoft.com/office/drawing/2014/main" id="{3DDF71CE-A61C-4C1F-BD9F-ECE9E194A253}"/>
                </a:ext>
              </a:extLst>
            </p:cNvPr>
            <p:cNvSpPr/>
            <p:nvPr/>
          </p:nvSpPr>
          <p:spPr>
            <a:xfrm rot="16200000">
              <a:off x="11641672" y="473411"/>
              <a:ext cx="609202" cy="151518"/>
            </a:xfrm>
            <a:custGeom>
              <a:avLst/>
              <a:gdLst>
                <a:gd name="connsiteX0" fmla="*/ 413946 w 609202"/>
                <a:gd name="connsiteY0" fmla="*/ 49664 h 151518"/>
                <a:gd name="connsiteX1" fmla="*/ 384494 w 609202"/>
                <a:gd name="connsiteY1" fmla="*/ 125217 h 151518"/>
                <a:gd name="connsiteX2" fmla="*/ 354820 w 609202"/>
                <a:gd name="connsiteY2" fmla="*/ 49664 h 151518"/>
                <a:gd name="connsiteX3" fmla="*/ 331666 w 609202"/>
                <a:gd name="connsiteY3" fmla="*/ 49664 h 151518"/>
                <a:gd name="connsiteX4" fmla="*/ 372910 w 609202"/>
                <a:gd name="connsiteY4" fmla="*/ 147314 h 151518"/>
                <a:gd name="connsiteX5" fmla="*/ 393955 w 609202"/>
                <a:gd name="connsiteY5" fmla="*/ 147314 h 151518"/>
                <a:gd name="connsiteX6" fmla="*/ 435214 w 609202"/>
                <a:gd name="connsiteY6" fmla="*/ 49665 h 151518"/>
                <a:gd name="connsiteX7" fmla="*/ 297359 w 609202"/>
                <a:gd name="connsiteY7" fmla="*/ 49664 h 151518"/>
                <a:gd name="connsiteX8" fmla="*/ 297359 w 609202"/>
                <a:gd name="connsiteY8" fmla="*/ 101215 h 151518"/>
                <a:gd name="connsiteX9" fmla="*/ 272528 w 609202"/>
                <a:gd name="connsiteY9" fmla="*/ 130474 h 151518"/>
                <a:gd name="connsiteX10" fmla="*/ 247695 w 609202"/>
                <a:gd name="connsiteY10" fmla="*/ 101215 h 151518"/>
                <a:gd name="connsiteX11" fmla="*/ 247695 w 609202"/>
                <a:gd name="connsiteY11" fmla="*/ 49664 h 151518"/>
                <a:gd name="connsiteX12" fmla="*/ 227067 w 609202"/>
                <a:gd name="connsiteY12" fmla="*/ 49664 h 151518"/>
                <a:gd name="connsiteX13" fmla="*/ 227067 w 609202"/>
                <a:gd name="connsiteY13" fmla="*/ 102060 h 151518"/>
                <a:gd name="connsiteX14" fmla="*/ 272528 w 609202"/>
                <a:gd name="connsiteY14" fmla="*/ 149408 h 151518"/>
                <a:gd name="connsiteX15" fmla="*/ 317989 w 609202"/>
                <a:gd name="connsiteY15" fmla="*/ 102060 h 151518"/>
                <a:gd name="connsiteX16" fmla="*/ 317989 w 609202"/>
                <a:gd name="connsiteY16" fmla="*/ 49664 h 151518"/>
                <a:gd name="connsiteX17" fmla="*/ 162877 w 609202"/>
                <a:gd name="connsiteY17" fmla="*/ 47347 h 151518"/>
                <a:gd name="connsiteX18" fmla="*/ 140599 w 609202"/>
                <a:gd name="connsiteY18" fmla="*/ 52442 h 151518"/>
                <a:gd name="connsiteX19" fmla="*/ 112797 w 609202"/>
                <a:gd name="connsiteY19" fmla="*/ 97428 h 151518"/>
                <a:gd name="connsiteX20" fmla="*/ 156150 w 609202"/>
                <a:gd name="connsiteY20" fmla="*/ 151519 h 151518"/>
                <a:gd name="connsiteX21" fmla="*/ 168567 w 609202"/>
                <a:gd name="connsiteY21" fmla="*/ 144568 h 151518"/>
                <a:gd name="connsiteX22" fmla="*/ 197603 w 609202"/>
                <a:gd name="connsiteY22" fmla="*/ 119528 h 151518"/>
                <a:gd name="connsiteX23" fmla="*/ 212335 w 609202"/>
                <a:gd name="connsiteY23" fmla="*/ 96596 h 151518"/>
                <a:gd name="connsiteX24" fmla="*/ 162879 w 609202"/>
                <a:gd name="connsiteY24" fmla="*/ 47348 h 151518"/>
                <a:gd name="connsiteX25" fmla="*/ 184768 w 609202"/>
                <a:gd name="connsiteY25" fmla="*/ 112799 h 151518"/>
                <a:gd name="connsiteX26" fmla="*/ 168567 w 609202"/>
                <a:gd name="connsiteY26" fmla="*/ 129419 h 151518"/>
                <a:gd name="connsiteX27" fmla="*/ 161200 w 609202"/>
                <a:gd name="connsiteY27" fmla="*/ 133844 h 151518"/>
                <a:gd name="connsiteX28" fmla="*/ 132373 w 609202"/>
                <a:gd name="connsiteY28" fmla="*/ 100591 h 151518"/>
                <a:gd name="connsiteX29" fmla="*/ 162671 w 609202"/>
                <a:gd name="connsiteY29" fmla="*/ 70070 h 151518"/>
                <a:gd name="connsiteX30" fmla="*/ 192557 w 609202"/>
                <a:gd name="connsiteY30" fmla="*/ 100182 h 151518"/>
                <a:gd name="connsiteX31" fmla="*/ 192557 w 609202"/>
                <a:gd name="connsiteY31" fmla="*/ 100182 h 151518"/>
                <a:gd name="connsiteX32" fmla="*/ 192553 w 609202"/>
                <a:gd name="connsiteY32" fmla="*/ 100589 h 151518"/>
                <a:gd name="connsiteX33" fmla="*/ 184772 w 609202"/>
                <a:gd name="connsiteY33" fmla="*/ 112797 h 151518"/>
                <a:gd name="connsiteX34" fmla="*/ 51342 w 609202"/>
                <a:gd name="connsiteY34" fmla="*/ 47347 h 151518"/>
                <a:gd name="connsiteX35" fmla="*/ 20198 w 609202"/>
                <a:gd name="connsiteY35" fmla="*/ 59555 h 151518"/>
                <a:gd name="connsiteX36" fmla="*/ 19991 w 609202"/>
                <a:gd name="connsiteY36" fmla="*/ 0 h 151518"/>
                <a:gd name="connsiteX37" fmla="*/ 0 w 609202"/>
                <a:gd name="connsiteY37" fmla="*/ 0 h 151518"/>
                <a:gd name="connsiteX38" fmla="*/ 0 w 609202"/>
                <a:gd name="connsiteY38" fmla="*/ 147315 h 151518"/>
                <a:gd name="connsiteX39" fmla="*/ 20630 w 609202"/>
                <a:gd name="connsiteY39" fmla="*/ 147315 h 151518"/>
                <a:gd name="connsiteX40" fmla="*/ 20630 w 609202"/>
                <a:gd name="connsiteY40" fmla="*/ 137422 h 151518"/>
                <a:gd name="connsiteX41" fmla="*/ 51344 w 609202"/>
                <a:gd name="connsiteY41" fmla="*/ 149200 h 151518"/>
                <a:gd name="connsiteX42" fmla="*/ 100175 w 609202"/>
                <a:gd name="connsiteY42" fmla="*/ 98273 h 151518"/>
                <a:gd name="connsiteX43" fmla="*/ 51342 w 609202"/>
                <a:gd name="connsiteY43" fmla="*/ 47347 h 151518"/>
                <a:gd name="connsiteX44" fmla="*/ 49664 w 609202"/>
                <a:gd name="connsiteY44" fmla="*/ 130266 h 151518"/>
                <a:gd name="connsiteX45" fmla="*/ 20198 w 609202"/>
                <a:gd name="connsiteY45" fmla="*/ 98275 h 151518"/>
                <a:gd name="connsiteX46" fmla="*/ 49664 w 609202"/>
                <a:gd name="connsiteY46" fmla="*/ 66284 h 151518"/>
                <a:gd name="connsiteX47" fmla="*/ 79131 w 609202"/>
                <a:gd name="connsiteY47" fmla="*/ 98276 h 151518"/>
                <a:gd name="connsiteX48" fmla="*/ 49662 w 609202"/>
                <a:gd name="connsiteY48" fmla="*/ 130264 h 151518"/>
                <a:gd name="connsiteX49" fmla="*/ 609203 w 609202"/>
                <a:gd name="connsiteY49" fmla="*/ 49664 h 151518"/>
                <a:gd name="connsiteX50" fmla="*/ 579321 w 609202"/>
                <a:gd name="connsiteY50" fmla="*/ 49664 h 151518"/>
                <a:gd name="connsiteX51" fmla="*/ 579099 w 609202"/>
                <a:gd name="connsiteY51" fmla="*/ 0 h 151518"/>
                <a:gd name="connsiteX52" fmla="*/ 559107 w 609202"/>
                <a:gd name="connsiteY52" fmla="*/ 0 h 151518"/>
                <a:gd name="connsiteX53" fmla="*/ 559107 w 609202"/>
                <a:gd name="connsiteY53" fmla="*/ 49664 h 151518"/>
                <a:gd name="connsiteX54" fmla="*/ 545369 w 609202"/>
                <a:gd name="connsiteY54" fmla="*/ 49664 h 151518"/>
                <a:gd name="connsiteX55" fmla="*/ 545369 w 609202"/>
                <a:gd name="connsiteY55" fmla="*/ 67545 h 151518"/>
                <a:gd name="connsiteX56" fmla="*/ 559107 w 609202"/>
                <a:gd name="connsiteY56" fmla="*/ 67545 h 151518"/>
                <a:gd name="connsiteX57" fmla="*/ 559107 w 609202"/>
                <a:gd name="connsiteY57" fmla="*/ 147314 h 151518"/>
                <a:gd name="connsiteX58" fmla="*/ 579529 w 609202"/>
                <a:gd name="connsiteY58" fmla="*/ 147314 h 151518"/>
                <a:gd name="connsiteX59" fmla="*/ 579321 w 609202"/>
                <a:gd name="connsiteY59" fmla="*/ 67545 h 151518"/>
                <a:gd name="connsiteX60" fmla="*/ 609203 w 609202"/>
                <a:gd name="connsiteY60" fmla="*/ 67545 h 15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9202" h="151518">
                  <a:moveTo>
                    <a:pt x="413946" y="49664"/>
                  </a:moveTo>
                  <a:lnTo>
                    <a:pt x="384494" y="125217"/>
                  </a:lnTo>
                  <a:lnTo>
                    <a:pt x="354820" y="49664"/>
                  </a:lnTo>
                  <a:lnTo>
                    <a:pt x="331666" y="49664"/>
                  </a:lnTo>
                  <a:lnTo>
                    <a:pt x="372910" y="147314"/>
                  </a:lnTo>
                  <a:lnTo>
                    <a:pt x="393955" y="147314"/>
                  </a:lnTo>
                  <a:lnTo>
                    <a:pt x="435214" y="49665"/>
                  </a:lnTo>
                  <a:close/>
                  <a:moveTo>
                    <a:pt x="297359" y="49664"/>
                  </a:moveTo>
                  <a:lnTo>
                    <a:pt x="297359" y="101215"/>
                  </a:lnTo>
                  <a:cubicBezTo>
                    <a:pt x="297359" y="119735"/>
                    <a:pt x="288314" y="130474"/>
                    <a:pt x="272528" y="130474"/>
                  </a:cubicBezTo>
                  <a:cubicBezTo>
                    <a:pt x="256742" y="130474"/>
                    <a:pt x="247695" y="119735"/>
                    <a:pt x="247695" y="101215"/>
                  </a:cubicBezTo>
                  <a:lnTo>
                    <a:pt x="247695" y="49664"/>
                  </a:lnTo>
                  <a:lnTo>
                    <a:pt x="227067" y="49664"/>
                  </a:lnTo>
                  <a:lnTo>
                    <a:pt x="227067" y="102060"/>
                  </a:lnTo>
                  <a:cubicBezTo>
                    <a:pt x="227067" y="131111"/>
                    <a:pt x="244533" y="149408"/>
                    <a:pt x="272528" y="149408"/>
                  </a:cubicBezTo>
                  <a:cubicBezTo>
                    <a:pt x="300523" y="149408"/>
                    <a:pt x="317989" y="131111"/>
                    <a:pt x="317989" y="102060"/>
                  </a:cubicBezTo>
                  <a:lnTo>
                    <a:pt x="317989" y="49664"/>
                  </a:lnTo>
                  <a:close/>
                  <a:moveTo>
                    <a:pt x="162877" y="47347"/>
                  </a:moveTo>
                  <a:cubicBezTo>
                    <a:pt x="155160" y="47330"/>
                    <a:pt x="147541" y="49072"/>
                    <a:pt x="140599" y="52442"/>
                  </a:cubicBezTo>
                  <a:cubicBezTo>
                    <a:pt x="123437" y="60827"/>
                    <a:pt x="112621" y="78328"/>
                    <a:pt x="112797" y="97428"/>
                  </a:cubicBezTo>
                  <a:cubicBezTo>
                    <a:pt x="112797" y="122482"/>
                    <a:pt x="136159" y="151519"/>
                    <a:pt x="156150" y="151519"/>
                  </a:cubicBezTo>
                  <a:cubicBezTo>
                    <a:pt x="161205" y="151479"/>
                    <a:pt x="165890" y="148857"/>
                    <a:pt x="168567" y="144568"/>
                  </a:cubicBezTo>
                  <a:cubicBezTo>
                    <a:pt x="176781" y="132150"/>
                    <a:pt x="185200" y="125009"/>
                    <a:pt x="197603" y="119528"/>
                  </a:cubicBezTo>
                  <a:cubicBezTo>
                    <a:pt x="209187" y="114478"/>
                    <a:pt x="212335" y="109428"/>
                    <a:pt x="212335" y="96596"/>
                  </a:cubicBezTo>
                  <a:cubicBezTo>
                    <a:pt x="212335" y="68809"/>
                    <a:pt x="190667" y="47348"/>
                    <a:pt x="162879" y="47348"/>
                  </a:cubicBezTo>
                  <a:close/>
                  <a:moveTo>
                    <a:pt x="184768" y="112799"/>
                  </a:moveTo>
                  <a:cubicBezTo>
                    <a:pt x="176348" y="118057"/>
                    <a:pt x="171938" y="122483"/>
                    <a:pt x="168567" y="129419"/>
                  </a:cubicBezTo>
                  <a:cubicBezTo>
                    <a:pt x="167173" y="132194"/>
                    <a:pt x="164305" y="133917"/>
                    <a:pt x="161200" y="133844"/>
                  </a:cubicBezTo>
                  <a:cubicBezTo>
                    <a:pt x="147729" y="133844"/>
                    <a:pt x="132373" y="116156"/>
                    <a:pt x="132373" y="100591"/>
                  </a:cubicBezTo>
                  <a:cubicBezTo>
                    <a:pt x="132373" y="83125"/>
                    <a:pt x="145204" y="70070"/>
                    <a:pt x="162671" y="70070"/>
                  </a:cubicBezTo>
                  <a:cubicBezTo>
                    <a:pt x="179239" y="70133"/>
                    <a:pt x="192619" y="83614"/>
                    <a:pt x="192557" y="100182"/>
                  </a:cubicBezTo>
                  <a:lnTo>
                    <a:pt x="192557" y="100182"/>
                  </a:lnTo>
                  <a:cubicBezTo>
                    <a:pt x="192556" y="100317"/>
                    <a:pt x="192554" y="100452"/>
                    <a:pt x="192553" y="100589"/>
                  </a:cubicBezTo>
                  <a:cubicBezTo>
                    <a:pt x="192553" y="106053"/>
                    <a:pt x="190667" y="109217"/>
                    <a:pt x="184772" y="112797"/>
                  </a:cubicBezTo>
                  <a:close/>
                  <a:moveTo>
                    <a:pt x="51342" y="47347"/>
                  </a:moveTo>
                  <a:cubicBezTo>
                    <a:pt x="39770" y="47223"/>
                    <a:pt x="28603" y="51600"/>
                    <a:pt x="20198" y="59555"/>
                  </a:cubicBezTo>
                  <a:lnTo>
                    <a:pt x="19991" y="0"/>
                  </a:lnTo>
                  <a:lnTo>
                    <a:pt x="0" y="0"/>
                  </a:lnTo>
                  <a:lnTo>
                    <a:pt x="0" y="147315"/>
                  </a:lnTo>
                  <a:lnTo>
                    <a:pt x="20630" y="147315"/>
                  </a:lnTo>
                  <a:lnTo>
                    <a:pt x="20630" y="137422"/>
                  </a:lnTo>
                  <a:cubicBezTo>
                    <a:pt x="29061" y="145007"/>
                    <a:pt x="40002" y="149203"/>
                    <a:pt x="51344" y="149200"/>
                  </a:cubicBezTo>
                  <a:cubicBezTo>
                    <a:pt x="79130" y="149200"/>
                    <a:pt x="100175" y="127100"/>
                    <a:pt x="100175" y="98273"/>
                  </a:cubicBezTo>
                  <a:cubicBezTo>
                    <a:pt x="100175" y="69445"/>
                    <a:pt x="79130" y="47347"/>
                    <a:pt x="51342" y="47347"/>
                  </a:cubicBezTo>
                  <a:close/>
                  <a:moveTo>
                    <a:pt x="49664" y="130266"/>
                  </a:moveTo>
                  <a:cubicBezTo>
                    <a:pt x="32822" y="130266"/>
                    <a:pt x="20198" y="116587"/>
                    <a:pt x="20198" y="98275"/>
                  </a:cubicBezTo>
                  <a:cubicBezTo>
                    <a:pt x="20198" y="79962"/>
                    <a:pt x="32822" y="66284"/>
                    <a:pt x="49664" y="66284"/>
                  </a:cubicBezTo>
                  <a:cubicBezTo>
                    <a:pt x="66505" y="66284"/>
                    <a:pt x="79131" y="79962"/>
                    <a:pt x="79131" y="98276"/>
                  </a:cubicBezTo>
                  <a:cubicBezTo>
                    <a:pt x="79131" y="116590"/>
                    <a:pt x="66505" y="130264"/>
                    <a:pt x="49662" y="130264"/>
                  </a:cubicBezTo>
                  <a:close/>
                  <a:moveTo>
                    <a:pt x="609203" y="49664"/>
                  </a:moveTo>
                  <a:lnTo>
                    <a:pt x="579321" y="49664"/>
                  </a:lnTo>
                  <a:lnTo>
                    <a:pt x="579099" y="0"/>
                  </a:lnTo>
                  <a:lnTo>
                    <a:pt x="559107" y="0"/>
                  </a:lnTo>
                  <a:lnTo>
                    <a:pt x="559107" y="49664"/>
                  </a:lnTo>
                  <a:lnTo>
                    <a:pt x="545369" y="49664"/>
                  </a:lnTo>
                  <a:lnTo>
                    <a:pt x="545369" y="67545"/>
                  </a:lnTo>
                  <a:lnTo>
                    <a:pt x="559107" y="67545"/>
                  </a:lnTo>
                  <a:lnTo>
                    <a:pt x="559107" y="147314"/>
                  </a:lnTo>
                  <a:lnTo>
                    <a:pt x="579529" y="147314"/>
                  </a:lnTo>
                  <a:lnTo>
                    <a:pt x="579321" y="67545"/>
                  </a:lnTo>
                  <a:lnTo>
                    <a:pt x="609203" y="67545"/>
                  </a:lnTo>
                  <a:close/>
                </a:path>
              </a:pathLst>
            </a:custGeom>
            <a:grpFill/>
            <a:ln w="264" cap="flat">
              <a:noFill/>
              <a:prstDash val="solid"/>
              <a:miter/>
            </a:ln>
          </p:spPr>
          <p:txBody>
            <a:bodyPr rtlCol="0" anchor="ctr"/>
            <a:lstStyle/>
            <a:p>
              <a:endParaRPr lang="nb-NO" noProof="0"/>
            </a:p>
          </p:txBody>
        </p:sp>
        <p:sp>
          <p:nvSpPr>
            <p:cNvPr id="10" name="Freeform: Shape 9">
              <a:extLst>
                <a:ext uri="{FF2B5EF4-FFF2-40B4-BE49-F238E27FC236}">
                  <a16:creationId xmlns:a16="http://schemas.microsoft.com/office/drawing/2014/main" id="{342535C0-4705-4AD0-8E1C-3597C4727ED2}"/>
                </a:ext>
              </a:extLst>
            </p:cNvPr>
            <p:cNvSpPr/>
            <p:nvPr/>
          </p:nvSpPr>
          <p:spPr>
            <a:xfrm rot="16200000">
              <a:off x="11921301" y="313678"/>
              <a:ext cx="96119" cy="101875"/>
            </a:xfrm>
            <a:custGeom>
              <a:avLst/>
              <a:gdLst>
                <a:gd name="connsiteX0" fmla="*/ 95810 w 96119"/>
                <a:gd name="connsiteY0" fmla="*/ 56965 h 101875"/>
                <a:gd name="connsiteX1" fmla="*/ 20362 w 96119"/>
                <a:gd name="connsiteY1" fmla="*/ 56965 h 101875"/>
                <a:gd name="connsiteX2" fmla="*/ 34212 w 96119"/>
                <a:gd name="connsiteY2" fmla="*/ 79118 h 101875"/>
                <a:gd name="connsiteX3" fmla="*/ 48915 w 96119"/>
                <a:gd name="connsiteY3" fmla="*/ 82727 h 101875"/>
                <a:gd name="connsiteX4" fmla="*/ 73366 w 96119"/>
                <a:gd name="connsiteY4" fmla="*/ 75426 h 101875"/>
                <a:gd name="connsiteX5" fmla="*/ 79556 w 96119"/>
                <a:gd name="connsiteY5" fmla="*/ 69472 h 101875"/>
                <a:gd name="connsiteX6" fmla="*/ 93354 w 96119"/>
                <a:gd name="connsiteY6" fmla="*/ 82930 h 101875"/>
                <a:gd name="connsiteX7" fmla="*/ 83867 w 96119"/>
                <a:gd name="connsiteY7" fmla="*/ 91638 h 101875"/>
                <a:gd name="connsiteX8" fmla="*/ 46091 w 96119"/>
                <a:gd name="connsiteY8" fmla="*/ 101759 h 101875"/>
                <a:gd name="connsiteX9" fmla="*/ 16168 w 96119"/>
                <a:gd name="connsiteY9" fmla="*/ 89716 h 101875"/>
                <a:gd name="connsiteX10" fmla="*/ 506 w 96119"/>
                <a:gd name="connsiteY10" fmla="*/ 58160 h 101875"/>
                <a:gd name="connsiteX11" fmla="*/ 5248 w 96119"/>
                <a:gd name="connsiteY11" fmla="*/ 26756 h 101875"/>
                <a:gd name="connsiteX12" fmla="*/ 40827 w 96119"/>
                <a:gd name="connsiteY12" fmla="*/ 738 h 101875"/>
                <a:gd name="connsiteX13" fmla="*/ 70343 w 96119"/>
                <a:gd name="connsiteY13" fmla="*/ 4817 h 101875"/>
                <a:gd name="connsiteX14" fmla="*/ 94209 w 96119"/>
                <a:gd name="connsiteY14" fmla="*/ 35590 h 101875"/>
                <a:gd name="connsiteX15" fmla="*/ 95810 w 96119"/>
                <a:gd name="connsiteY15" fmla="*/ 56965 h 101875"/>
                <a:gd name="connsiteX16" fmla="*/ 20776 w 96119"/>
                <a:gd name="connsiteY16" fmla="*/ 40423 h 101875"/>
                <a:gd name="connsiteX17" fmla="*/ 74793 w 96119"/>
                <a:gd name="connsiteY17" fmla="*/ 40423 h 101875"/>
                <a:gd name="connsiteX18" fmla="*/ 50253 w 96119"/>
                <a:gd name="connsiteY18" fmla="*/ 17857 h 101875"/>
                <a:gd name="connsiteX19" fmla="*/ 20776 w 96119"/>
                <a:gd name="connsiteY19" fmla="*/ 40423 h 1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119" h="101875">
                  <a:moveTo>
                    <a:pt x="95810" y="56965"/>
                  </a:moveTo>
                  <a:lnTo>
                    <a:pt x="20362" y="56965"/>
                  </a:lnTo>
                  <a:cubicBezTo>
                    <a:pt x="21886" y="66442"/>
                    <a:pt x="25653" y="74318"/>
                    <a:pt x="34212" y="79118"/>
                  </a:cubicBezTo>
                  <a:cubicBezTo>
                    <a:pt x="38729" y="81545"/>
                    <a:pt x="43788" y="82786"/>
                    <a:pt x="48915" y="82727"/>
                  </a:cubicBezTo>
                  <a:cubicBezTo>
                    <a:pt x="57811" y="82850"/>
                    <a:pt x="66195" y="81075"/>
                    <a:pt x="73366" y="75426"/>
                  </a:cubicBezTo>
                  <a:cubicBezTo>
                    <a:pt x="75532" y="73550"/>
                    <a:pt x="77598" y="71563"/>
                    <a:pt x="79556" y="69472"/>
                  </a:cubicBezTo>
                  <a:lnTo>
                    <a:pt x="93354" y="82930"/>
                  </a:lnTo>
                  <a:cubicBezTo>
                    <a:pt x="90598" y="86246"/>
                    <a:pt x="87407" y="89175"/>
                    <a:pt x="83867" y="91638"/>
                  </a:cubicBezTo>
                  <a:cubicBezTo>
                    <a:pt x="72486" y="99593"/>
                    <a:pt x="59751" y="102519"/>
                    <a:pt x="46091" y="101759"/>
                  </a:cubicBezTo>
                  <a:cubicBezTo>
                    <a:pt x="35014" y="101373"/>
                    <a:pt x="24424" y="97111"/>
                    <a:pt x="16168" y="89716"/>
                  </a:cubicBezTo>
                  <a:cubicBezTo>
                    <a:pt x="6826" y="81316"/>
                    <a:pt x="1889" y="70591"/>
                    <a:pt x="506" y="58160"/>
                  </a:cubicBezTo>
                  <a:cubicBezTo>
                    <a:pt x="-933" y="47454"/>
                    <a:pt x="712" y="36560"/>
                    <a:pt x="5248" y="26756"/>
                  </a:cubicBezTo>
                  <a:cubicBezTo>
                    <a:pt x="12466" y="11681"/>
                    <a:pt x="24591" y="3239"/>
                    <a:pt x="40827" y="738"/>
                  </a:cubicBezTo>
                  <a:cubicBezTo>
                    <a:pt x="50850" y="-1030"/>
                    <a:pt x="61175" y="397"/>
                    <a:pt x="70343" y="4817"/>
                  </a:cubicBezTo>
                  <a:cubicBezTo>
                    <a:pt x="83187" y="11156"/>
                    <a:pt x="90642" y="21889"/>
                    <a:pt x="94209" y="35590"/>
                  </a:cubicBezTo>
                  <a:cubicBezTo>
                    <a:pt x="95990" y="42566"/>
                    <a:pt x="96532" y="49801"/>
                    <a:pt x="95810" y="56965"/>
                  </a:cubicBezTo>
                  <a:close/>
                  <a:moveTo>
                    <a:pt x="20776" y="40423"/>
                  </a:moveTo>
                  <a:lnTo>
                    <a:pt x="74793" y="40423"/>
                  </a:lnTo>
                  <a:cubicBezTo>
                    <a:pt x="73059" y="28002"/>
                    <a:pt x="62776" y="18546"/>
                    <a:pt x="50253" y="17857"/>
                  </a:cubicBezTo>
                  <a:cubicBezTo>
                    <a:pt x="34544" y="16956"/>
                    <a:pt x="23456" y="25443"/>
                    <a:pt x="20776" y="40423"/>
                  </a:cubicBezTo>
                  <a:close/>
                </a:path>
              </a:pathLst>
            </a:custGeom>
            <a:grpFill/>
            <a:ln w="264" cap="flat">
              <a:noFill/>
              <a:prstDash val="solid"/>
              <a:miter/>
            </a:ln>
          </p:spPr>
          <p:txBody>
            <a:bodyPr rtlCol="0" anchor="ctr"/>
            <a:lstStyle/>
            <a:p>
              <a:endParaRPr lang="nb-NO" noProof="0"/>
            </a:p>
          </p:txBody>
        </p:sp>
      </p:grpSp>
      <p:sp>
        <p:nvSpPr>
          <p:cNvPr id="3" name="Text Placeholder 2">
            <a:extLst>
              <a:ext uri="{FF2B5EF4-FFF2-40B4-BE49-F238E27FC236}">
                <a16:creationId xmlns:a16="http://schemas.microsoft.com/office/drawing/2014/main" id="{F5889EA2-F8DD-4E46-A5E8-853F0C99A2B0}"/>
              </a:ext>
            </a:extLst>
          </p:cNvPr>
          <p:cNvSpPr>
            <a:spLocks noGrp="1"/>
          </p:cNvSpPr>
          <p:nvPr>
            <p:ph type="body" idx="1"/>
          </p:nvPr>
        </p:nvSpPr>
        <p:spPr>
          <a:xfrm>
            <a:off x="839787" y="2097088"/>
            <a:ext cx="10512425" cy="4103687"/>
          </a:xfrm>
          <a:prstGeom prst="rect">
            <a:avLst/>
          </a:prstGeom>
        </p:spPr>
        <p:txBody>
          <a:bodyPr vert="horz" lIns="0" tIns="0" rIns="0" bIns="0" rtlCol="0">
            <a:norm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5" name="Title Placeholder 1">
            <a:extLst>
              <a:ext uri="{FF2B5EF4-FFF2-40B4-BE49-F238E27FC236}">
                <a16:creationId xmlns:a16="http://schemas.microsoft.com/office/drawing/2014/main" id="{1640073E-9FC2-E643-A841-E98A5CAF0F00}"/>
              </a:ext>
            </a:extLst>
          </p:cNvPr>
          <p:cNvSpPr>
            <a:spLocks noGrp="1"/>
          </p:cNvSpPr>
          <p:nvPr>
            <p:ph type="title"/>
          </p:nvPr>
        </p:nvSpPr>
        <p:spPr>
          <a:xfrm>
            <a:off x="839788" y="728663"/>
            <a:ext cx="10512425" cy="1183958"/>
          </a:xfrm>
          <a:prstGeom prst="rect">
            <a:avLst/>
          </a:prstGeom>
        </p:spPr>
        <p:txBody>
          <a:bodyPr vert="horz" lIns="0" tIns="0" rIns="0" bIns="0" rtlCol="0" anchor="t" anchorCtr="0">
            <a:noAutofit/>
          </a:bodyPr>
          <a:lstStyle/>
          <a:p>
            <a:r>
              <a:rPr lang="nb-NO" noProof="0"/>
              <a:t>Klikk for å redigere tittelstil</a:t>
            </a:r>
          </a:p>
        </p:txBody>
      </p:sp>
      <p:sp>
        <p:nvSpPr>
          <p:cNvPr id="12" name="Footer Placeholder 11">
            <a:extLst>
              <a:ext uri="{FF2B5EF4-FFF2-40B4-BE49-F238E27FC236}">
                <a16:creationId xmlns:a16="http://schemas.microsoft.com/office/drawing/2014/main" id="{3AB6F7A2-99CB-458D-821B-234EC5F565DC}"/>
              </a:ext>
            </a:extLst>
          </p:cNvPr>
          <p:cNvSpPr>
            <a:spLocks noGrp="1"/>
          </p:cNvSpPr>
          <p:nvPr>
            <p:ph type="ftr" sz="quarter" idx="3"/>
          </p:nvPr>
        </p:nvSpPr>
        <p:spPr>
          <a:xfrm>
            <a:off x="838200" y="6200775"/>
            <a:ext cx="5257800" cy="394335"/>
          </a:xfrm>
          <a:prstGeom prst="rect">
            <a:avLst/>
          </a:prstGeom>
        </p:spPr>
        <p:txBody>
          <a:bodyPr vert="horz" lIns="0" tIns="0" rIns="0" bIns="0" rtlCol="0" anchor="ctr"/>
          <a:lstStyle>
            <a:lvl1pPr algn="l">
              <a:defRPr sz="1000">
                <a:solidFill>
                  <a:schemeClr val="bg1">
                    <a:lumMod val="50000"/>
                  </a:schemeClr>
                </a:solidFill>
              </a:defRPr>
            </a:lvl1pPr>
          </a:lstStyle>
          <a:p>
            <a:r>
              <a:rPr lang="nb-NO" noProof="0"/>
              <a:t>Bouvet presentasjonsmal Oktober 2021</a:t>
            </a:r>
          </a:p>
        </p:txBody>
      </p:sp>
      <p:sp>
        <p:nvSpPr>
          <p:cNvPr id="13" name="Slide Number Placeholder 12">
            <a:extLst>
              <a:ext uri="{FF2B5EF4-FFF2-40B4-BE49-F238E27FC236}">
                <a16:creationId xmlns:a16="http://schemas.microsoft.com/office/drawing/2014/main" id="{A317C70E-FBD8-445A-A26D-A26FB52104BD}"/>
              </a:ext>
            </a:extLst>
          </p:cNvPr>
          <p:cNvSpPr>
            <a:spLocks noGrp="1"/>
          </p:cNvSpPr>
          <p:nvPr>
            <p:ph type="sldNum" sz="quarter" idx="4"/>
          </p:nvPr>
        </p:nvSpPr>
        <p:spPr>
          <a:xfrm>
            <a:off x="10568940" y="6200776"/>
            <a:ext cx="784860" cy="394335"/>
          </a:xfrm>
          <a:prstGeom prst="rect">
            <a:avLst/>
          </a:prstGeom>
        </p:spPr>
        <p:txBody>
          <a:bodyPr vert="horz" lIns="0" tIns="0" rIns="0" bIns="0" rtlCol="0" anchor="ctr"/>
          <a:lstStyle>
            <a:lvl1pPr algn="r">
              <a:defRPr sz="1000">
                <a:solidFill>
                  <a:schemeClr val="bg1">
                    <a:lumMod val="50000"/>
                  </a:schemeClr>
                </a:solidFill>
              </a:defRPr>
            </a:lvl1pPr>
          </a:lstStyle>
          <a:p>
            <a:fld id="{261FDEBC-E42D-42D0-B9CA-24127F1B2280}" type="slidenum">
              <a:rPr lang="nb-NO" noProof="0" smtClean="0"/>
              <a:pPr/>
              <a:t>‹#›</a:t>
            </a:fld>
            <a:endParaRPr lang="nb-NO" noProof="0"/>
          </a:p>
        </p:txBody>
      </p:sp>
    </p:spTree>
    <p:extLst>
      <p:ext uri="{BB962C8B-B14F-4D97-AF65-F5344CB8AC3E}">
        <p14:creationId xmlns:p14="http://schemas.microsoft.com/office/powerpoint/2010/main" val="3913712728"/>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hf hdr="0" dt="0"/>
  <p:txStyles>
    <p:titleStyle>
      <a:lvl1pPr algn="l" defTabSz="914400" rtl="0" eaLnBrk="1" latinLnBrk="0" hangingPunct="1">
        <a:lnSpc>
          <a:spcPct val="90000"/>
        </a:lnSpc>
        <a:spcBef>
          <a:spcPct val="0"/>
        </a:spcBef>
        <a:buNone/>
        <a:defRPr sz="4000" b="1" kern="1200">
          <a:solidFill>
            <a:schemeClr val="bg2"/>
          </a:solidFill>
          <a:latin typeface="Inter" panose="020B0502030000000004" pitchFamily="34" charset="0"/>
          <a:ea typeface="Inter" panose="020B0502030000000004" pitchFamily="34" charset="0"/>
          <a:cs typeface="+mj-cs"/>
        </a:defRPr>
      </a:lvl1pPr>
    </p:titleStyle>
    <p:bodyStyle>
      <a:lvl1pPr marL="266700" indent="-266700" algn="l" defTabSz="914400" rtl="0" eaLnBrk="1" latinLnBrk="0" hangingPunct="1">
        <a:lnSpc>
          <a:spcPct val="120000"/>
        </a:lnSpc>
        <a:spcBef>
          <a:spcPts val="1000"/>
        </a:spcBef>
        <a:buFont typeface="Arial" panose="020B0604020202020204" pitchFamily="34" charset="0"/>
        <a:buChar char="•"/>
        <a:defRPr sz="2400" kern="1200">
          <a:solidFill>
            <a:schemeClr val="bg2"/>
          </a:solidFill>
          <a:latin typeface="Inter" panose="020B0502030000000004" pitchFamily="34" charset="0"/>
          <a:ea typeface="Inter" panose="020B0502030000000004" pitchFamily="34" charset="0"/>
          <a:cs typeface="+mn-cs"/>
        </a:defRPr>
      </a:lvl1pPr>
      <a:lvl2pPr marL="536575" indent="-269875" algn="l" defTabSz="914400" rtl="0" eaLnBrk="1" latinLnBrk="0" hangingPunct="1">
        <a:lnSpc>
          <a:spcPct val="120000"/>
        </a:lnSpc>
        <a:spcBef>
          <a:spcPts val="500"/>
        </a:spcBef>
        <a:buFont typeface="Arial" panose="020B0604020202020204" pitchFamily="34" charset="0"/>
        <a:buChar char="•"/>
        <a:defRPr sz="2000" kern="1200">
          <a:solidFill>
            <a:schemeClr val="bg2"/>
          </a:solidFill>
          <a:latin typeface="Inter" panose="020B0502030000000004" pitchFamily="34" charset="0"/>
          <a:ea typeface="Inter" panose="020B0502030000000004" pitchFamily="34" charset="0"/>
          <a:cs typeface="+mn-cs"/>
        </a:defRPr>
      </a:lvl2pPr>
      <a:lvl3pPr marL="808038" indent="-266700" algn="l" defTabSz="914400" rtl="0" eaLnBrk="1" latinLnBrk="0" hangingPunct="1">
        <a:lnSpc>
          <a:spcPct val="120000"/>
        </a:lnSpc>
        <a:spcBef>
          <a:spcPts val="500"/>
        </a:spcBef>
        <a:buFont typeface="Arial" panose="020B0604020202020204" pitchFamily="34" charset="0"/>
        <a:buChar char="•"/>
        <a:defRPr sz="1800" kern="1200">
          <a:solidFill>
            <a:schemeClr val="bg2"/>
          </a:solidFill>
          <a:latin typeface="Inter" panose="020B0502030000000004" pitchFamily="34" charset="0"/>
          <a:ea typeface="Inter" panose="020B0502030000000004" pitchFamily="34" charset="0"/>
          <a:cs typeface="+mn-cs"/>
        </a:defRPr>
      </a:lvl3pPr>
      <a:lvl4pPr marL="808038" indent="-266700" algn="l" defTabSz="914400" rtl="0" eaLnBrk="1" latinLnBrk="0" hangingPunct="1">
        <a:lnSpc>
          <a:spcPct val="120000"/>
        </a:lnSpc>
        <a:spcBef>
          <a:spcPts val="500"/>
        </a:spcBef>
        <a:buFont typeface="Arial" panose="020B0604020202020204" pitchFamily="34" charset="0"/>
        <a:buChar char="•"/>
        <a:defRPr sz="1800" kern="1200">
          <a:solidFill>
            <a:schemeClr val="bg2"/>
          </a:solidFill>
          <a:latin typeface="Inter" panose="020B0502030000000004" pitchFamily="34" charset="0"/>
          <a:ea typeface="Inter" panose="020B0502030000000004" pitchFamily="34" charset="0"/>
          <a:cs typeface="+mn-cs"/>
        </a:defRPr>
      </a:lvl4pPr>
      <a:lvl5pPr marL="808038" indent="-266700" algn="l" defTabSz="914400" rtl="0" eaLnBrk="1" latinLnBrk="0" hangingPunct="1">
        <a:lnSpc>
          <a:spcPct val="120000"/>
        </a:lnSpc>
        <a:spcBef>
          <a:spcPts val="500"/>
        </a:spcBef>
        <a:buFont typeface="Arial" panose="020B0604020202020204" pitchFamily="34" charset="0"/>
        <a:buChar char="•"/>
        <a:defRPr sz="1800" kern="1200">
          <a:solidFill>
            <a:schemeClr val="bg2"/>
          </a:solidFill>
          <a:latin typeface="Inter" panose="020B0502030000000004" pitchFamily="34" charset="0"/>
          <a:ea typeface="Inter" panose="020B05020300000000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p15:clr>
            <a:srgbClr val="F26B43"/>
          </p15:clr>
        </p15:guide>
        <p15:guide id="2" pos="7151">
          <p15:clr>
            <a:srgbClr val="F26B43"/>
          </p15:clr>
        </p15:guide>
        <p15:guide id="3" orient="horz" pos="1321">
          <p15:clr>
            <a:srgbClr val="F26B43"/>
          </p15:clr>
        </p15:guide>
        <p15:guide id="4" orient="horz" pos="459">
          <p15:clr>
            <a:srgbClr val="F26B43"/>
          </p15:clr>
        </p15:guide>
        <p15:guide id="5" orient="horz" pos="390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B29748-9A96-B344-B100-E43F61E260E5}"/>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1874500" y="250124"/>
            <a:ext cx="143542" cy="598094"/>
          </a:xfrm>
          <a:prstGeom prst="rect">
            <a:avLst/>
          </a:prstGeom>
        </p:spPr>
      </p:pic>
      <p:sp>
        <p:nvSpPr>
          <p:cNvPr id="3" name="Text Placeholder 2">
            <a:extLst>
              <a:ext uri="{FF2B5EF4-FFF2-40B4-BE49-F238E27FC236}">
                <a16:creationId xmlns:a16="http://schemas.microsoft.com/office/drawing/2014/main" id="{F5889EA2-F8DD-4E46-A5E8-853F0C99A2B0}"/>
              </a:ext>
            </a:extLst>
          </p:cNvPr>
          <p:cNvSpPr>
            <a:spLocks noGrp="1"/>
          </p:cNvSpPr>
          <p:nvPr>
            <p:ph type="body" idx="1"/>
          </p:nvPr>
        </p:nvSpPr>
        <p:spPr>
          <a:xfrm>
            <a:off x="853190" y="2050478"/>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5" name="Title Placeholder 1">
            <a:extLst>
              <a:ext uri="{FF2B5EF4-FFF2-40B4-BE49-F238E27FC236}">
                <a16:creationId xmlns:a16="http://schemas.microsoft.com/office/drawing/2014/main" id="{1640073E-9FC2-E643-A841-E98A5CAF0F00}"/>
              </a:ext>
            </a:extLst>
          </p:cNvPr>
          <p:cNvSpPr>
            <a:spLocks noGrp="1"/>
          </p:cNvSpPr>
          <p:nvPr>
            <p:ph type="title"/>
          </p:nvPr>
        </p:nvSpPr>
        <p:spPr>
          <a:xfrm>
            <a:off x="853190" y="619958"/>
            <a:ext cx="10515600" cy="1325563"/>
          </a:xfrm>
          <a:prstGeom prst="rect">
            <a:avLst/>
          </a:prstGeom>
        </p:spPr>
        <p:txBody>
          <a:bodyPr vert="horz" lIns="91440" tIns="45720" rIns="91440" bIns="45720" rtlCol="0" anchor="ctr">
            <a:normAutofit/>
          </a:bodyPr>
          <a:lstStyle/>
          <a:p>
            <a:r>
              <a:rPr lang="en-GB"/>
              <a:t>Click to edit Master title style</a:t>
            </a:r>
            <a:endParaRPr lang="nb-NO"/>
          </a:p>
        </p:txBody>
      </p:sp>
    </p:spTree>
    <p:extLst>
      <p:ext uri="{BB962C8B-B14F-4D97-AF65-F5344CB8AC3E}">
        <p14:creationId xmlns:p14="http://schemas.microsoft.com/office/powerpoint/2010/main" val="68477150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Lst>
  <p:txStyles>
    <p:titleStyle>
      <a:lvl1pPr algn="l" defTabSz="914400" rtl="0" eaLnBrk="1" latinLnBrk="0" hangingPunct="1">
        <a:lnSpc>
          <a:spcPct val="90000"/>
        </a:lnSpc>
        <a:spcBef>
          <a:spcPct val="0"/>
        </a:spcBef>
        <a:buNone/>
        <a:defRPr sz="4400" b="1" kern="1200">
          <a:solidFill>
            <a:schemeClr val="tx2"/>
          </a:solidFill>
          <a:latin typeface="Inter" panose="020B0502030000000004" pitchFamily="34" charset="0"/>
          <a:ea typeface="Inter" panose="020B0502030000000004" pitchFamily="34" charset="0"/>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kern="1200">
          <a:solidFill>
            <a:schemeClr val="tx2"/>
          </a:solidFill>
          <a:latin typeface="Inter" panose="020B0502030000000004" pitchFamily="34" charset="0"/>
          <a:ea typeface="Inter" panose="020B0502030000000004" pitchFamily="34" charset="0"/>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kern="1200">
          <a:solidFill>
            <a:schemeClr val="tx2"/>
          </a:solidFill>
          <a:latin typeface="Inter" panose="020B0502030000000004" pitchFamily="34" charset="0"/>
          <a:ea typeface="Inter" panose="020B0502030000000004" pitchFamily="34" charset="0"/>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kern="1200">
          <a:solidFill>
            <a:schemeClr val="tx2"/>
          </a:solidFill>
          <a:latin typeface="Inter" panose="020B0502030000000004" pitchFamily="34" charset="0"/>
          <a:ea typeface="Inter" panose="020B0502030000000004" pitchFamily="34" charset="0"/>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2"/>
          </a:solidFill>
          <a:latin typeface="Inter" panose="020B0502030000000004" pitchFamily="34" charset="0"/>
          <a:ea typeface="Inter" panose="020B0502030000000004" pitchFamily="34" charset="0"/>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2"/>
          </a:solidFill>
          <a:latin typeface="Inter" panose="020B0502030000000004" pitchFamily="34" charset="0"/>
          <a:ea typeface="Inter" panose="020B05020300000000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508000" y="518584"/>
            <a:ext cx="11176000" cy="577081"/>
          </a:xfrm>
          <a:prstGeom prst="rect">
            <a:avLst/>
          </a:prstGeom>
        </p:spPr>
        <p:txBody>
          <a:bodyPr vert="horz"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508000" y="1702863"/>
            <a:ext cx="11176000" cy="4411132"/>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oolsToo_Slide" descr="ToolsToo_Slide">
            <a:extLst>
              <a:ext uri="{FF2B5EF4-FFF2-40B4-BE49-F238E27FC236}">
                <a16:creationId xmlns:a16="http://schemas.microsoft.com/office/drawing/2014/main" id="{1F81589F-B3E4-6835-96B5-8B1A21C3D8A0}"/>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Symbol">
            <a:extLst>
              <a:ext uri="{FF2B5EF4-FFF2-40B4-BE49-F238E27FC236}">
                <a16:creationId xmlns:a16="http://schemas.microsoft.com/office/drawing/2014/main" id="{2EF4E811-DCBC-0433-C3F8-59AFEA9DC4DE}"/>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22"/>
              </a:ext>
            </a:extLst>
          </a:blip>
          <a:stretch>
            <a:fillRect/>
          </a:stretch>
        </p:blipFill>
        <p:spPr>
          <a:xfrm>
            <a:off x="482639" y="6298141"/>
            <a:ext cx="308517" cy="343036"/>
          </a:xfrm>
          <a:prstGeom prst="rect">
            <a:avLst/>
          </a:prstGeom>
        </p:spPr>
      </p:pic>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487488" y="6410592"/>
            <a:ext cx="4114800" cy="150811"/>
          </a:xfrm>
          <a:prstGeom prst="rect">
            <a:avLst/>
          </a:prstGeom>
        </p:spPr>
        <p:txBody>
          <a:bodyPr vert="horz" lIns="0" tIns="0" rIns="0" bIns="0" rtlCol="0" anchor="ctr">
            <a:noAutofit/>
          </a:bodyPr>
          <a:lstStyle>
            <a:lvl1pPr algn="l">
              <a:defRPr sz="980">
                <a:solidFill>
                  <a:schemeClr val="tx1">
                    <a:lumMod val="75000"/>
                    <a:lumOff val="25000"/>
                  </a:schemeClr>
                </a:solidFill>
              </a:defRPr>
            </a:lvl1pPr>
          </a:lstStyle>
          <a:p>
            <a:endParaRPr lang="nb-NO"/>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7213600" y="6410592"/>
            <a:ext cx="2743200" cy="150811"/>
          </a:xfrm>
          <a:prstGeom prst="rect">
            <a:avLst/>
          </a:prstGeom>
        </p:spPr>
        <p:txBody>
          <a:bodyPr vert="horz" lIns="0" tIns="0" rIns="0" bIns="0" rtlCol="0" anchor="ctr">
            <a:noAutofit/>
          </a:bodyPr>
          <a:lstStyle>
            <a:lvl1pPr algn="l" fontAlgn="ctr">
              <a:defRPr sz="980">
                <a:solidFill>
                  <a:schemeClr val="tx1">
                    <a:lumMod val="75000"/>
                    <a:lumOff val="25000"/>
                  </a:schemeClr>
                </a:solidFill>
              </a:defRPr>
            </a:lvl1pPr>
          </a:lstStyle>
          <a:p>
            <a:fld id="{E6A610A8-4EE9-470C-972D-0E41A2C50444}" type="datetimeFigureOut">
              <a:rPr lang="nb-NO" smtClean="0"/>
              <a:pPr/>
              <a:t>14.03.2026</a:t>
            </a:fld>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515600" y="6410592"/>
            <a:ext cx="1168400" cy="150811"/>
          </a:xfrm>
          <a:prstGeom prst="rect">
            <a:avLst/>
          </a:prstGeom>
        </p:spPr>
        <p:txBody>
          <a:bodyPr vert="horz" lIns="0" tIns="0" rIns="0" bIns="0" rtlCol="0" anchor="ctr">
            <a:noAutofit/>
          </a:bodyPr>
          <a:lstStyle>
            <a:lvl1pPr algn="r">
              <a:defRPr sz="980">
                <a:solidFill>
                  <a:schemeClr val="tx1">
                    <a:lumMod val="75000"/>
                    <a:lumOff val="25000"/>
                  </a:schemeClr>
                </a:solidFill>
              </a:defRPr>
            </a:lvl1pPr>
          </a:lstStyle>
          <a:p>
            <a:fld id="{BE2ACD00-28B2-4D17-A930-2C9F8441C7CA}" type="slidenum">
              <a:rPr lang="nb-NO" smtClean="0"/>
              <a:pPr/>
              <a:t>‹#›</a:t>
            </a:fld>
            <a:endParaRPr lang="nb-NO"/>
          </a:p>
        </p:txBody>
      </p:sp>
    </p:spTree>
    <p:extLst>
      <p:ext uri="{BB962C8B-B14F-4D97-AF65-F5344CB8AC3E}">
        <p14:creationId xmlns:p14="http://schemas.microsoft.com/office/powerpoint/2010/main" val="20717782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30" r:id="rId20"/>
  </p:sldLayoutIdLst>
  <p:txStyles>
    <p:titleStyle>
      <a:lvl1pPr algn="l" defTabSz="914400" rtl="0" eaLnBrk="1" fontAlgn="ctr" latinLnBrk="0" hangingPunct="1">
        <a:lnSpc>
          <a:spcPct val="100000"/>
        </a:lnSpc>
        <a:spcBef>
          <a:spcPct val="0"/>
        </a:spcBef>
        <a:buNone/>
        <a:defRPr sz="3750" kern="1200">
          <a:solidFill>
            <a:schemeClr val="tx2"/>
          </a:solidFill>
          <a:latin typeface="+mj-lt"/>
          <a:ea typeface="+mj-ea"/>
          <a:cs typeface="+mj-cs"/>
        </a:defRPr>
      </a:lvl1pPr>
    </p:titleStyle>
    <p:bodyStyle>
      <a:lvl1pPr marL="257175" indent="-257175" algn="l" defTabSz="914400" rtl="0" eaLnBrk="1" fontAlgn="ctr" latinLnBrk="0" hangingPunct="1">
        <a:lnSpc>
          <a:spcPct val="100000"/>
        </a:lnSpc>
        <a:spcBef>
          <a:spcPts val="1000"/>
        </a:spcBef>
        <a:buClr>
          <a:schemeClr val="tx2"/>
        </a:buClr>
        <a:buFont typeface="Avenir Next LT Pro" panose="020B0504020202020204" pitchFamily="34" charset="0"/>
        <a:buChar char="•"/>
        <a:defRPr sz="2400" kern="1200">
          <a:solidFill>
            <a:schemeClr val="tx1"/>
          </a:solidFill>
          <a:latin typeface="+mn-lt"/>
          <a:ea typeface="+mn-ea"/>
          <a:cs typeface="+mn-cs"/>
        </a:defRPr>
      </a:lvl1pPr>
      <a:lvl2pPr marL="685800" indent="-228600" algn="l" defTabSz="914400" rtl="0" eaLnBrk="1" fontAlgn="ctr" latinLnBrk="0" hangingPunct="1">
        <a:lnSpc>
          <a:spcPct val="100000"/>
        </a:lnSpc>
        <a:spcBef>
          <a:spcPts val="500"/>
        </a:spcBef>
        <a:buFont typeface="Avenir Next LT Pro" panose="020B0504020202020204" pitchFamily="34" charset="0"/>
        <a:buChar char="–"/>
        <a:defRPr sz="2400" kern="1200">
          <a:solidFill>
            <a:schemeClr val="tx1"/>
          </a:solidFill>
          <a:latin typeface="+mn-lt"/>
          <a:ea typeface="+mn-ea"/>
          <a:cs typeface="+mn-cs"/>
        </a:defRPr>
      </a:lvl2pPr>
      <a:lvl3pPr marL="1143000" indent="-228600" algn="l" defTabSz="914400" rtl="0" eaLnBrk="1" fontAlgn="ctr" latinLnBrk="0" hangingPunct="1">
        <a:lnSpc>
          <a:spcPct val="100000"/>
        </a:lnSpc>
        <a:spcBef>
          <a:spcPts val="500"/>
        </a:spcBef>
        <a:buFont typeface="Avenir Next LT Pro" panose="020B0504020202020204" pitchFamily="34" charset="0"/>
        <a:buChar char="–"/>
        <a:defRPr sz="1920" kern="1200">
          <a:solidFill>
            <a:schemeClr val="tx1"/>
          </a:solidFill>
          <a:latin typeface="+mn-lt"/>
          <a:ea typeface="+mn-ea"/>
          <a:cs typeface="+mn-cs"/>
        </a:defRPr>
      </a:lvl3pPr>
      <a:lvl4pPr marL="0" indent="0" algn="l" defTabSz="914400" rtl="0" eaLnBrk="1" fontAlgn="ctr" latinLnBrk="0" hangingPunct="1">
        <a:lnSpc>
          <a:spcPct val="100000"/>
        </a:lnSpc>
        <a:spcBef>
          <a:spcPts val="1000"/>
        </a:spcBef>
        <a:buFont typeface="Wingdings" panose="05000000000000000000" pitchFamily="2" charset="2"/>
        <a:buNone/>
        <a:defRPr sz="2400" kern="1200">
          <a:solidFill>
            <a:schemeClr val="tx2"/>
          </a:solidFill>
          <a:latin typeface="+mj-lt"/>
          <a:ea typeface="+mn-ea"/>
          <a:cs typeface="+mn-cs"/>
        </a:defRPr>
      </a:lvl4pPr>
      <a:lvl5pPr marL="0" indent="0" algn="l" defTabSz="914400" rtl="0" eaLnBrk="1" fontAlgn="ctr" latinLnBrk="0" hangingPunct="1">
        <a:lnSpc>
          <a:spcPct val="100000"/>
        </a:lnSpc>
        <a:spcBef>
          <a:spcPts val="1000"/>
        </a:spcBef>
        <a:buFont typeface="Wingdings" panose="05000000000000000000" pitchFamily="2" charset="2"/>
        <a:buNone/>
        <a:defRPr sz="1920" kern="1200">
          <a:solidFill>
            <a:schemeClr val="tx2"/>
          </a:solidFill>
          <a:latin typeface="+mj-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0">
          <p15:clr>
            <a:srgbClr val="9FCC3B"/>
          </p15:clr>
        </p15:guide>
        <p15:guide id="3" pos="723">
          <p15:clr>
            <a:srgbClr val="9FCC3B"/>
          </p15:clr>
        </p15:guide>
        <p15:guide id="4" pos="937">
          <p15:clr>
            <a:srgbClr val="9FCC3B"/>
          </p15:clr>
        </p15:guide>
        <p15:guide id="5" pos="1326">
          <p15:clr>
            <a:srgbClr val="9FCC3B"/>
          </p15:clr>
        </p15:guide>
        <p15:guide id="6" pos="1527">
          <p15:clr>
            <a:srgbClr val="9FCC3B"/>
          </p15:clr>
        </p15:guide>
        <p15:guide id="7" pos="1929">
          <p15:clr>
            <a:srgbClr val="9FCC3B"/>
          </p15:clr>
        </p15:guide>
        <p15:guide id="8" pos="2130">
          <p15:clr>
            <a:srgbClr val="9FCC3B"/>
          </p15:clr>
        </p15:guide>
        <p15:guide id="9" pos="2533">
          <p15:clr>
            <a:srgbClr val="9FCC3B"/>
          </p15:clr>
        </p15:guide>
        <p15:guide id="10" pos="2734">
          <p15:clr>
            <a:srgbClr val="9FCC3B"/>
          </p15:clr>
        </p15:guide>
        <p15:guide id="11" pos="3137">
          <p15:clr>
            <a:srgbClr val="9FCC3B"/>
          </p15:clr>
        </p15:guide>
        <p15:guide id="12" pos="3336">
          <p15:clr>
            <a:srgbClr val="9FCC3B"/>
          </p15:clr>
        </p15:guide>
        <p15:guide id="13" pos="3739">
          <p15:clr>
            <a:srgbClr val="9FCC3B"/>
          </p15:clr>
        </p15:guide>
        <p15:guide id="14" pos="3940">
          <p15:clr>
            <a:srgbClr val="9FCC3B"/>
          </p15:clr>
        </p15:guide>
        <p15:guide id="15" pos="4343">
          <p15:clr>
            <a:srgbClr val="9FCC3B"/>
          </p15:clr>
        </p15:guide>
        <p15:guide id="16" pos="4544">
          <p15:clr>
            <a:srgbClr val="9FCC3B"/>
          </p15:clr>
        </p15:guide>
        <p15:guide id="17" pos="4946">
          <p15:clr>
            <a:srgbClr val="9FCC3B"/>
          </p15:clr>
        </p15:guide>
        <p15:guide id="18" pos="5147">
          <p15:clr>
            <a:srgbClr val="9FCC3B"/>
          </p15:clr>
        </p15:guide>
        <p15:guide id="19" pos="5549">
          <p15:clr>
            <a:srgbClr val="9FCC3B"/>
          </p15:clr>
        </p15:guide>
        <p15:guide id="20" pos="5750">
          <p15:clr>
            <a:srgbClr val="9FCC3B"/>
          </p15:clr>
        </p15:guide>
        <p15:guide id="21" pos="6153">
          <p15:clr>
            <a:srgbClr val="9FCC3B"/>
          </p15:clr>
        </p15:guide>
        <p15:guide id="22" pos="6354">
          <p15:clr>
            <a:srgbClr val="9FCC3B"/>
          </p15:clr>
        </p15:guide>
        <p15:guide id="23" pos="6756">
          <p15:clr>
            <a:srgbClr val="9FCC3B"/>
          </p15:clr>
        </p15:guide>
        <p15:guide id="24" pos="6957">
          <p15:clr>
            <a:srgbClr val="9FCC3B"/>
          </p15:clr>
        </p15:guide>
        <p15:guide id="25" orient="horz" pos="399">
          <p15:clr>
            <a:srgbClr val="9FCC3B"/>
          </p15:clr>
        </p15:guide>
        <p15:guide id="26" orient="horz" pos="1120">
          <p15:clr>
            <a:srgbClr val="9FCC3B"/>
          </p15:clr>
        </p15:guide>
        <p15:guide id="28" pos="7360">
          <p15:clr>
            <a:srgbClr val="9FCC3B"/>
          </p15:clr>
        </p15:guide>
        <p15:guide id="29" orient="horz" pos="3851">
          <p15:clr>
            <a:srgbClr val="9FCC3B"/>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www.auditingalgorithms.net/"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riksrevisjonen.no/en/reports2/en-2023-20242/the-use-of-artificial-intelligence-in-the-central-government/" TargetMode="Externa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oecd-opsi.org/work-areas/ai/" TargetMode="External"/><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1.png"/><Relationship Id="rId7" Type="http://schemas.openxmlformats.org/officeDocument/2006/relationships/hyperlink" Target="https://www.ohchr.org/EN/NewsEvents/Pages/DisplayNews.aspx?NewsID=25156" TargetMode="External"/><Relationship Id="rId2" Type="http://schemas.openxmlformats.org/officeDocument/2006/relationships/image" Target="../media/image30.png"/><Relationship Id="rId1" Type="http://schemas.openxmlformats.org/officeDocument/2006/relationships/slideLayout" Target="../slideLayouts/slideLayout2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hyperlink" Target="https://intosaijournal.org/"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hyperlink" Target="https://www.npr.org/2025/07/09/nx-s1-5462609/grok-elon-musk-antisemitic-racist-content" TargetMode="Externa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a:extLst>
              <a:ext uri="{FF2B5EF4-FFF2-40B4-BE49-F238E27FC236}">
                <a16:creationId xmlns:a16="http://schemas.microsoft.com/office/drawing/2014/main" id="{46166A54-3BFF-0B76-8D69-F1332CB31121}"/>
              </a:ext>
            </a:extLst>
          </p:cNvPr>
          <p:cNvSpPr>
            <a:spLocks noGrp="1"/>
          </p:cNvSpPr>
          <p:nvPr>
            <p:ph type="ctrTitle"/>
          </p:nvPr>
        </p:nvSpPr>
        <p:spPr>
          <a:xfrm>
            <a:off x="1487488" y="2545565"/>
            <a:ext cx="8361362" cy="977811"/>
          </a:xfrm>
        </p:spPr>
        <p:txBody>
          <a:bodyPr/>
          <a:lstStyle/>
          <a:p>
            <a:r>
              <a:rPr lang="en-GB" sz="3600" noProof="1">
                <a:latin typeface="Tahoma" panose="020B0604030504040204" pitchFamily="34" charset="0"/>
                <a:ea typeface="Tahoma" panose="020B0604030504040204" pitchFamily="34" charset="0"/>
                <a:cs typeface="Tahoma" panose="020B0604030504040204" pitchFamily="34" charset="0"/>
              </a:rPr>
              <a:t>How AI Will Affect Performance Audit</a:t>
            </a:r>
          </a:p>
        </p:txBody>
      </p:sp>
      <p:sp>
        <p:nvSpPr>
          <p:cNvPr id="8" name="Undertittel 7">
            <a:extLst>
              <a:ext uri="{FF2B5EF4-FFF2-40B4-BE49-F238E27FC236}">
                <a16:creationId xmlns:a16="http://schemas.microsoft.com/office/drawing/2014/main" id="{55841047-E9A0-15B1-4D9F-CA1A19815D84}"/>
              </a:ext>
            </a:extLst>
          </p:cNvPr>
          <p:cNvSpPr>
            <a:spLocks noGrp="1"/>
          </p:cNvSpPr>
          <p:nvPr>
            <p:ph type="subTitle" idx="1"/>
          </p:nvPr>
        </p:nvSpPr>
        <p:spPr>
          <a:xfrm>
            <a:off x="1487488" y="3523376"/>
            <a:ext cx="5407025" cy="640276"/>
          </a:xfrm>
        </p:spPr>
        <p:txBody>
          <a:bodyPr/>
          <a:lstStyle/>
          <a:p>
            <a:r>
              <a:rPr lang="en-GB" noProof="1">
                <a:latin typeface="Tahoma" panose="020B0604030504040204" pitchFamily="34" charset="0"/>
                <a:ea typeface="Tahoma" panose="020B0604030504040204" pitchFamily="34" charset="0"/>
                <a:cs typeface="Tahoma" panose="020B0604030504040204" pitchFamily="34" charset="0"/>
              </a:rPr>
              <a:t>An Introduction</a:t>
            </a:r>
          </a:p>
        </p:txBody>
      </p:sp>
      <p:sp>
        <p:nvSpPr>
          <p:cNvPr id="9" name="Plassholder for tekst 8">
            <a:extLst>
              <a:ext uri="{FF2B5EF4-FFF2-40B4-BE49-F238E27FC236}">
                <a16:creationId xmlns:a16="http://schemas.microsoft.com/office/drawing/2014/main" id="{7930E518-83E4-ACFB-B5EC-C33243EC0762}"/>
              </a:ext>
            </a:extLst>
          </p:cNvPr>
          <p:cNvSpPr>
            <a:spLocks noGrp="1"/>
          </p:cNvSpPr>
          <p:nvPr>
            <p:ph type="body" sz="quarter" idx="13"/>
          </p:nvPr>
        </p:nvSpPr>
        <p:spPr>
          <a:xfrm>
            <a:off x="1487488" y="6057904"/>
            <a:ext cx="7732013" cy="236988"/>
          </a:xfrm>
        </p:spPr>
        <p:txBody>
          <a:bodyPr/>
          <a:lstStyle/>
          <a:p>
            <a:r>
              <a:rPr lang="en-GB" sz="1400" noProof="1">
                <a:latin typeface="Tahoma" panose="020B0604030504040204" pitchFamily="34" charset="0"/>
                <a:ea typeface="Tahoma" panose="020B0604030504040204" pitchFamily="34" charset="0"/>
                <a:cs typeface="Tahoma" panose="020B0604030504040204" pitchFamily="34" charset="0"/>
              </a:rPr>
              <a:t>Jan Roar Beckstrom, OAG Norway, 17th. meeting in INTOSAI PAS </a:t>
            </a:r>
          </a:p>
        </p:txBody>
      </p:sp>
    </p:spTree>
    <p:extLst>
      <p:ext uri="{BB962C8B-B14F-4D97-AF65-F5344CB8AC3E}">
        <p14:creationId xmlns:p14="http://schemas.microsoft.com/office/powerpoint/2010/main" val="303070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23612-20EE-1A55-4516-622EE0DE3E6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326C9691-3EC2-C2D9-08EA-6D4E1BB9A3BE}"/>
              </a:ext>
            </a:extLst>
          </p:cNvPr>
          <p:cNvSpPr>
            <a:spLocks noGrp="1"/>
          </p:cNvSpPr>
          <p:nvPr>
            <p:ph type="title"/>
          </p:nvPr>
        </p:nvSpPr>
        <p:spPr>
          <a:xfrm>
            <a:off x="838200" y="914734"/>
            <a:ext cx="10515600" cy="1514475"/>
          </a:xfrm>
          <a:noFill/>
        </p:spPr>
        <p:txBody>
          <a:bodyPr/>
          <a:lstStyle/>
          <a:p>
            <a:pPr defTabSz="914400" rtl="1" eaLnBrk="1" latinLnBrk="0" hangingPunct="1">
              <a:lnSpc>
                <a:spcPct val="90000"/>
              </a:lnSpc>
              <a:spcBef>
                <a:spcPct val="0"/>
              </a:spcBef>
              <a:buNone/>
            </a:pPr>
            <a: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t>AI – it is not magic</a:t>
            </a:r>
          </a:p>
        </p:txBody>
      </p:sp>
      <p:sp>
        <p:nvSpPr>
          <p:cNvPr id="5" name="Text Placeholder 2">
            <a:extLst>
              <a:ext uri="{FF2B5EF4-FFF2-40B4-BE49-F238E27FC236}">
                <a16:creationId xmlns:a16="http://schemas.microsoft.com/office/drawing/2014/main" id="{A35639BC-05F9-3EE3-FA81-AE5CCDA1CF31}"/>
              </a:ext>
            </a:extLst>
          </p:cNvPr>
          <p:cNvSpPr txBox="1">
            <a:spLocks/>
          </p:cNvSpPr>
          <p:nvPr/>
        </p:nvSpPr>
        <p:spPr>
          <a:xfrm>
            <a:off x="969169" y="2916497"/>
            <a:ext cx="10240962" cy="2554806"/>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noProof="1">
                <a:latin typeface="Tahoma" panose="020B0604030504040204" pitchFamily="34" charset="0"/>
                <a:ea typeface="Tahoma" panose="020B0604030504040204" pitchFamily="34" charset="0"/>
                <a:cs typeface="Tahoma" panose="020B0604030504040204" pitchFamily="34" charset="0"/>
              </a:rPr>
              <a:t>AI </a:t>
            </a:r>
            <a:r>
              <a:rPr lang="en-GB" sz="2400" noProof="1">
                <a:latin typeface="Tahoma" panose="020B0604030504040204" pitchFamily="34" charset="0"/>
                <a:ea typeface="Tahoma" panose="020B0604030504040204" pitchFamily="34" charset="0"/>
                <a:cs typeface="Tahoma" panose="020B0604030504040204" pitchFamily="34" charset="0"/>
                <a:sym typeface="Wingdings" pitchFamily="2" charset="2"/>
              </a:rPr>
              <a:t> IT-systems</a:t>
            </a:r>
          </a:p>
          <a:p>
            <a:endParaRPr lang="en-GB" sz="2400" noProof="1">
              <a:latin typeface="Tahoma" panose="020B0604030504040204" pitchFamily="34" charset="0"/>
              <a:ea typeface="Tahoma" panose="020B0604030504040204" pitchFamily="34" charset="0"/>
              <a:cs typeface="Tahoma" panose="020B0604030504040204" pitchFamily="34" charset="0"/>
              <a:sym typeface="Wingdings" pitchFamily="2" charset="2"/>
            </a:endParaRPr>
          </a:p>
          <a:p>
            <a:r>
              <a:rPr lang="en-GB" sz="2400" noProof="1">
                <a:latin typeface="Tahoma" panose="020B0604030504040204" pitchFamily="34" charset="0"/>
                <a:ea typeface="Tahoma" panose="020B0604030504040204" pitchFamily="34" charset="0"/>
                <a:cs typeface="Tahoma" panose="020B0604030504040204" pitchFamily="34" charset="0"/>
              </a:rPr>
              <a:t>Auditing the risk and output of IT-systems is a rather traditional task?</a:t>
            </a:r>
          </a:p>
        </p:txBody>
      </p:sp>
    </p:spTree>
    <p:extLst>
      <p:ext uri="{BB962C8B-B14F-4D97-AF65-F5344CB8AC3E}">
        <p14:creationId xmlns:p14="http://schemas.microsoft.com/office/powerpoint/2010/main" val="5287464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60DE4-F283-4747-DBAA-E841732CA02B}"/>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31300107-5B85-2DCE-EB7F-6D448F15BC10}"/>
              </a:ext>
            </a:extLst>
          </p:cNvPr>
          <p:cNvSpPr>
            <a:spLocks noGrp="1"/>
          </p:cNvSpPr>
          <p:nvPr>
            <p:ph type="title"/>
          </p:nvPr>
        </p:nvSpPr>
        <p:spPr>
          <a:xfrm>
            <a:off x="831850" y="839233"/>
            <a:ext cx="10515600" cy="1514475"/>
          </a:xfrm>
          <a:noFill/>
        </p:spPr>
        <p:txBody>
          <a:bodyPr/>
          <a:lstStyle/>
          <a:p>
            <a:pPr defTabSz="914400" rtl="1" eaLnBrk="1" latinLnBrk="0" hangingPunct="1">
              <a:lnSpc>
                <a:spcPct val="90000"/>
              </a:lnSpc>
              <a:spcBef>
                <a:spcPct val="0"/>
              </a:spcBef>
              <a:buNone/>
            </a:pPr>
            <a: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t>Auditing AI – Where to start</a:t>
            </a:r>
            <a:b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br>
            <a:b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br>
            <a:r>
              <a:rPr lang="en-GB" sz="2400" noProof="1">
                <a:solidFill>
                  <a:srgbClr val="002060"/>
                </a:solidFill>
                <a:latin typeface="Tahoma" panose="020B0604030504040204" pitchFamily="34" charset="0"/>
                <a:ea typeface="Tahoma" panose="020B0604030504040204" pitchFamily="34" charset="0"/>
                <a:cs typeface="Tahoma" panose="020B0604030504040204" pitchFamily="34" charset="0"/>
              </a:rPr>
              <a:t>For example here?</a:t>
            </a:r>
          </a:p>
        </p:txBody>
      </p:sp>
      <p:sp>
        <p:nvSpPr>
          <p:cNvPr id="5" name="Text Placeholder 2">
            <a:extLst>
              <a:ext uri="{FF2B5EF4-FFF2-40B4-BE49-F238E27FC236}">
                <a16:creationId xmlns:a16="http://schemas.microsoft.com/office/drawing/2014/main" id="{F2087D5A-725E-E6C9-A0DA-0313FB9A9E79}"/>
              </a:ext>
            </a:extLst>
          </p:cNvPr>
          <p:cNvSpPr txBox="1">
            <a:spLocks/>
          </p:cNvSpPr>
          <p:nvPr/>
        </p:nvSpPr>
        <p:spPr>
          <a:xfrm>
            <a:off x="969169" y="2798696"/>
            <a:ext cx="10240962" cy="2790408"/>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noProof="1">
                <a:latin typeface="Tahoma" panose="020B0604030504040204" pitchFamily="34" charset="0"/>
                <a:ea typeface="Tahoma" panose="020B0604030504040204" pitchFamily="34" charset="0"/>
                <a:cs typeface="Tahoma" panose="020B0604030504040204" pitchFamily="34" charset="0"/>
              </a:rPr>
              <a:t>ISSAI 3000 - Quote: </a:t>
            </a:r>
          </a:p>
          <a:p>
            <a:pPr marL="0" indent="0">
              <a:buFont typeface="Arial" panose="020B0604020202020204" pitchFamily="34" charset="0"/>
              <a:buNone/>
            </a:pPr>
            <a:r>
              <a:rPr lang="en-GB" sz="2400" i="1" noProof="1">
                <a:latin typeface="Tahoma" panose="020B0604030504040204" pitchFamily="34" charset="0"/>
                <a:ea typeface="Tahoma" panose="020B0604030504040204" pitchFamily="34" charset="0"/>
                <a:cs typeface="Tahoma" panose="020B0604030504040204" pitchFamily="34" charset="0"/>
              </a:rPr>
              <a:t>«Performance auditing aims to contribute to improved economy, efficiency and effectiveness in the public sector.</a:t>
            </a:r>
          </a:p>
          <a:p>
            <a:pPr marL="0" indent="0">
              <a:buFont typeface="Arial" panose="020B0604020202020204" pitchFamily="34" charset="0"/>
              <a:buNone/>
            </a:pPr>
            <a:endParaRPr lang="en-GB" sz="2400" i="1" noProof="1">
              <a:latin typeface="Tahoma" panose="020B0604030504040204" pitchFamily="34" charset="0"/>
              <a:ea typeface="Tahoma" panose="020B0604030504040204" pitchFamily="34" charset="0"/>
              <a:cs typeface="Tahoma" panose="020B0604030504040204" pitchFamily="34" charset="0"/>
            </a:endParaRPr>
          </a:p>
          <a:p>
            <a:pPr marL="0" indent="0">
              <a:buFont typeface="Arial" panose="020B0604020202020204" pitchFamily="34" charset="0"/>
              <a:buNone/>
            </a:pPr>
            <a:r>
              <a:rPr lang="en-GB" sz="2400" i="1" noProof="1">
                <a:latin typeface="Tahoma" panose="020B0604030504040204" pitchFamily="34" charset="0"/>
                <a:ea typeface="Tahoma" panose="020B0604030504040204" pitchFamily="34" charset="0"/>
                <a:cs typeface="Tahoma" panose="020B0604030504040204" pitchFamily="34" charset="0"/>
              </a:rPr>
              <a:t>It also aims to contribute to good governance, accountability and transparency.»</a:t>
            </a:r>
          </a:p>
          <a:p>
            <a:pPr marL="0" indent="0">
              <a:buFont typeface="Arial" panose="020B0604020202020204" pitchFamily="34" charset="0"/>
              <a:buNone/>
            </a:pPr>
            <a:endParaRPr lang="en-GB" sz="2400" noProof="1">
              <a:latin typeface="Tahoma" panose="020B0604030504040204" pitchFamily="34" charset="0"/>
              <a:ea typeface="Tahoma" panose="020B0604030504040204" pitchFamily="34" charset="0"/>
              <a:cs typeface="Tahoma" panose="020B0604030504040204" pitchFamily="34" charset="0"/>
            </a:endParaRPr>
          </a:p>
          <a:p>
            <a:pPr marL="0" indent="0">
              <a:buFont typeface="Arial" panose="020B0604020202020204" pitchFamily="34" charset="0"/>
              <a:buNone/>
            </a:pPr>
            <a:endParaRPr lang="en-GB" sz="2400" noProof="1">
              <a:latin typeface="Tahoma" panose="020B0604030504040204" pitchFamily="34" charset="0"/>
              <a:ea typeface="Tahoma" panose="020B0604030504040204" pitchFamily="34" charset="0"/>
              <a:cs typeface="Tahoma" panose="020B0604030504040204" pitchFamily="34" charset="0"/>
            </a:endParaRPr>
          </a:p>
          <a:p>
            <a:pPr marL="0" indent="0">
              <a:buFont typeface="Arial" panose="020B0604020202020204" pitchFamily="34" charset="0"/>
              <a:buNone/>
            </a:pPr>
            <a:endParaRPr lang="en-GB" sz="2400" noProof="1">
              <a:latin typeface="Tahoma" panose="020B0604030504040204" pitchFamily="34" charset="0"/>
              <a:ea typeface="Tahoma" panose="020B0604030504040204" pitchFamily="34" charset="0"/>
              <a:cs typeface="Tahoma" panose="020B0604030504040204" pitchFamily="34" charset="0"/>
            </a:endParaRPr>
          </a:p>
          <a:p>
            <a:pPr marL="0" indent="0">
              <a:buFont typeface="Arial" panose="020B0604020202020204" pitchFamily="34" charset="0"/>
              <a:buNone/>
            </a:pPr>
            <a:endParaRPr lang="en-GB" sz="2400" noProof="1">
              <a:latin typeface="Tahoma" panose="020B0604030504040204" pitchFamily="34" charset="0"/>
              <a:ea typeface="Tahoma" panose="020B0604030504040204" pitchFamily="34" charset="0"/>
              <a:cs typeface="Tahoma" panose="020B0604030504040204" pitchFamily="34" charset="0"/>
            </a:endParaRPr>
          </a:p>
          <a:p>
            <a:pPr marL="0" indent="0">
              <a:buFont typeface="Arial" panose="020B0604020202020204" pitchFamily="34" charset="0"/>
              <a:buNone/>
            </a:pPr>
            <a:endParaRPr lang="en-GB" sz="2400" noProof="1">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335517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49653C5-C60E-E798-7744-AC5E5577E991}"/>
              </a:ext>
            </a:extLst>
          </p:cNvPr>
          <p:cNvSpPr>
            <a:spLocks noGrp="1"/>
          </p:cNvSpPr>
          <p:nvPr>
            <p:ph type="title"/>
          </p:nvPr>
        </p:nvSpPr>
        <p:spPr>
          <a:xfrm>
            <a:off x="507999" y="407826"/>
            <a:ext cx="10710127" cy="1572546"/>
          </a:xfrm>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And don’t forget this </a:t>
            </a:r>
            <a:r>
              <a:rPr lang="en-GB" sz="4000" noProof="1">
                <a:latin typeface="Tahoma" panose="020B0604030504040204" pitchFamily="34" charset="0"/>
                <a:ea typeface="Tahoma" panose="020B0604030504040204" pitchFamily="34" charset="0"/>
                <a:cs typeface="Tahoma" panose="020B0604030504040204" pitchFamily="34" charset="0"/>
                <a:sym typeface="Wingdings" pitchFamily="2" charset="2"/>
              </a:rPr>
              <a:t></a:t>
            </a:r>
            <a:endParaRPr lang="en-GB" sz="4000" noProof="1">
              <a:latin typeface="Tahoma" panose="020B0604030504040204" pitchFamily="34" charset="0"/>
              <a:ea typeface="Tahoma" panose="020B0604030504040204" pitchFamily="34" charset="0"/>
              <a:cs typeface="Tahoma" panose="020B0604030504040204" pitchFamily="34" charset="0"/>
            </a:endParaRPr>
          </a:p>
        </p:txBody>
      </p:sp>
      <p:pic>
        <p:nvPicPr>
          <p:cNvPr id="4" name="Bilde 3">
            <a:extLst>
              <a:ext uri="{FF2B5EF4-FFF2-40B4-BE49-F238E27FC236}">
                <a16:creationId xmlns:a16="http://schemas.microsoft.com/office/drawing/2014/main" id="{37D5AEA1-CCA9-80B3-E804-7421DF28A6E5}"/>
              </a:ext>
            </a:extLst>
          </p:cNvPr>
          <p:cNvPicPr>
            <a:picLocks noChangeAspect="1"/>
          </p:cNvPicPr>
          <p:nvPr/>
        </p:nvPicPr>
        <p:blipFill>
          <a:blip r:embed="rId2"/>
          <a:stretch>
            <a:fillRect/>
          </a:stretch>
        </p:blipFill>
        <p:spPr>
          <a:xfrm>
            <a:off x="1976862" y="2152185"/>
            <a:ext cx="7772400" cy="2553629"/>
          </a:xfrm>
          <a:prstGeom prst="rect">
            <a:avLst/>
          </a:prstGeom>
        </p:spPr>
      </p:pic>
    </p:spTree>
    <p:extLst>
      <p:ext uri="{BB962C8B-B14F-4D97-AF65-F5344CB8AC3E}">
        <p14:creationId xmlns:p14="http://schemas.microsoft.com/office/powerpoint/2010/main" val="27282127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EA268-A561-971C-A5AE-E823649280E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0146E3F7-1967-B2B9-75D0-D24D7B94998E}"/>
              </a:ext>
            </a:extLst>
          </p:cNvPr>
          <p:cNvSpPr>
            <a:spLocks noGrp="1"/>
          </p:cNvSpPr>
          <p:nvPr>
            <p:ph type="title"/>
          </p:nvPr>
        </p:nvSpPr>
        <p:spPr>
          <a:xfrm>
            <a:off x="831850" y="688232"/>
            <a:ext cx="10515600" cy="813398"/>
          </a:xfrm>
          <a:noFill/>
        </p:spPr>
        <p:txBody>
          <a:bodyPr/>
          <a:lstStyle/>
          <a:p>
            <a:pPr defTabSz="914400" rtl="1" eaLnBrk="1" latinLnBrk="0" hangingPunct="1">
              <a:lnSpc>
                <a:spcPct val="90000"/>
              </a:lnSpc>
              <a:spcBef>
                <a:spcPct val="0"/>
              </a:spcBef>
              <a:buNone/>
            </a:pPr>
            <a: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t>Examples of simple questions</a:t>
            </a:r>
          </a:p>
        </p:txBody>
      </p:sp>
      <p:sp>
        <p:nvSpPr>
          <p:cNvPr id="5" name="Text Placeholder 2">
            <a:extLst>
              <a:ext uri="{FF2B5EF4-FFF2-40B4-BE49-F238E27FC236}">
                <a16:creationId xmlns:a16="http://schemas.microsoft.com/office/drawing/2014/main" id="{5F71CB44-D13D-097E-C987-C40A6BB41178}"/>
              </a:ext>
            </a:extLst>
          </p:cNvPr>
          <p:cNvSpPr txBox="1">
            <a:spLocks/>
          </p:cNvSpPr>
          <p:nvPr/>
        </p:nvSpPr>
        <p:spPr>
          <a:xfrm>
            <a:off x="831850" y="2240124"/>
            <a:ext cx="10656756" cy="3367583"/>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noProof="1">
                <a:latin typeface="Tahoma" panose="020B0604030504040204" pitchFamily="34" charset="0"/>
                <a:ea typeface="Tahoma" panose="020B0604030504040204" pitchFamily="34" charset="0"/>
                <a:cs typeface="Tahoma" panose="020B0604030504040204" pitchFamily="34" charset="0"/>
              </a:rPr>
              <a:t>Why did the auditee introduce an AI-system in this case?</a:t>
            </a:r>
          </a:p>
          <a:p>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Were the choices and assumptions made reasonable?</a:t>
            </a:r>
          </a:p>
          <a:p>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Is it transparent and documented how the AI-machine reaches a result?</a:t>
            </a:r>
          </a:p>
          <a:p>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Any missed opportunities where AI could be beneficial?</a:t>
            </a:r>
          </a:p>
        </p:txBody>
      </p:sp>
    </p:spTree>
    <p:extLst>
      <p:ext uri="{BB962C8B-B14F-4D97-AF65-F5344CB8AC3E}">
        <p14:creationId xmlns:p14="http://schemas.microsoft.com/office/powerpoint/2010/main" val="3499180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A04D1-6688-F0F2-D62B-00EBA77E22F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96178FAF-5B63-A918-4BFE-E4AE527002F9}"/>
              </a:ext>
            </a:extLst>
          </p:cNvPr>
          <p:cNvSpPr>
            <a:spLocks noGrp="1"/>
          </p:cNvSpPr>
          <p:nvPr>
            <p:ph type="title"/>
          </p:nvPr>
        </p:nvSpPr>
        <p:spPr>
          <a:xfrm>
            <a:off x="838200" y="608147"/>
            <a:ext cx="10515600" cy="1514475"/>
          </a:xfrm>
          <a:noFill/>
        </p:spPr>
        <p:txBody>
          <a:bodyPr/>
          <a:lstStyle/>
          <a:p>
            <a:pPr algn="ctr" defTabSz="914400" rtl="1" eaLnBrk="1" latinLnBrk="0" hangingPunct="1">
              <a:lnSpc>
                <a:spcPct val="90000"/>
              </a:lnSpc>
              <a:spcBef>
                <a:spcPct val="0"/>
              </a:spcBef>
              <a:buNone/>
            </a:pPr>
            <a:r>
              <a:rPr lang="en-GB" sz="4000" noProof="1">
                <a:solidFill>
                  <a:srgbClr val="8D3B1F"/>
                </a:solidFill>
                <a:latin typeface="Tahoma" panose="020B0604030504040204" pitchFamily="34" charset="0"/>
                <a:ea typeface="Tahoma" panose="020B0604030504040204" pitchFamily="34" charset="0"/>
                <a:cs typeface="Tahoma" panose="020B0604030504040204" pitchFamily="34" charset="0"/>
                <a:hlinkClick r:id="rId2"/>
              </a:rPr>
              <a:t>www.auditingalgorithms.net</a:t>
            </a:r>
            <a:r>
              <a:rPr lang="en-GB" sz="4000" noProof="1">
                <a:solidFill>
                  <a:srgbClr val="8D3B1F"/>
                </a:solidFill>
                <a:latin typeface="Tahoma" panose="020B0604030504040204" pitchFamily="34" charset="0"/>
                <a:ea typeface="Tahoma" panose="020B0604030504040204" pitchFamily="34" charset="0"/>
                <a:cs typeface="Tahoma" panose="020B0604030504040204" pitchFamily="34" charset="0"/>
              </a:rPr>
              <a:t> </a:t>
            </a:r>
          </a:p>
        </p:txBody>
      </p:sp>
      <p:sp>
        <p:nvSpPr>
          <p:cNvPr id="5" name="Text Placeholder 2">
            <a:extLst>
              <a:ext uri="{FF2B5EF4-FFF2-40B4-BE49-F238E27FC236}">
                <a16:creationId xmlns:a16="http://schemas.microsoft.com/office/drawing/2014/main" id="{AEC17856-3DED-62D4-EC71-168151DC63DB}"/>
              </a:ext>
            </a:extLst>
          </p:cNvPr>
          <p:cNvSpPr txBox="1">
            <a:spLocks/>
          </p:cNvSpPr>
          <p:nvPr/>
        </p:nvSpPr>
        <p:spPr>
          <a:xfrm>
            <a:off x="270323" y="2122622"/>
            <a:ext cx="5736741" cy="2554806"/>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noProof="1">
                <a:latin typeface="Tahoma" panose="020B0604030504040204" pitchFamily="34" charset="0"/>
                <a:ea typeface="Tahoma" panose="020B0604030504040204" pitchFamily="34" charset="0"/>
                <a:cs typeface="Tahoma" panose="020B0604030504040204" pitchFamily="34" charset="0"/>
              </a:rPr>
              <a:t>A guide written by auditors, for auditors</a:t>
            </a:r>
          </a:p>
          <a:p>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An international cooperation between the SAIs of Germany, UK, Brazil, the Netherlands, Finland and Norway</a:t>
            </a:r>
          </a:p>
        </p:txBody>
      </p:sp>
      <p:pic>
        <p:nvPicPr>
          <p:cNvPr id="6" name="Bilde 5">
            <a:extLst>
              <a:ext uri="{FF2B5EF4-FFF2-40B4-BE49-F238E27FC236}">
                <a16:creationId xmlns:a16="http://schemas.microsoft.com/office/drawing/2014/main" id="{136512DE-2FDF-0224-64E1-F2F07F82E785}"/>
              </a:ext>
            </a:extLst>
          </p:cNvPr>
          <p:cNvPicPr>
            <a:picLocks noChangeAspect="1"/>
          </p:cNvPicPr>
          <p:nvPr/>
        </p:nvPicPr>
        <p:blipFill>
          <a:blip r:embed="rId3"/>
          <a:stretch>
            <a:fillRect/>
          </a:stretch>
        </p:blipFill>
        <p:spPr>
          <a:xfrm>
            <a:off x="6336753" y="1627414"/>
            <a:ext cx="5584924" cy="4957482"/>
          </a:xfrm>
          <a:prstGeom prst="rect">
            <a:avLst/>
          </a:prstGeom>
          <a:ln>
            <a:solidFill>
              <a:schemeClr val="tx1"/>
            </a:solidFill>
          </a:ln>
        </p:spPr>
      </p:pic>
    </p:spTree>
    <p:extLst>
      <p:ext uri="{BB962C8B-B14F-4D97-AF65-F5344CB8AC3E}">
        <p14:creationId xmlns:p14="http://schemas.microsoft.com/office/powerpoint/2010/main" val="42187171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B4257-8F3F-A53E-F8E2-0CAAC093453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453815AB-9394-F783-E94C-367FE3777126}"/>
              </a:ext>
            </a:extLst>
          </p:cNvPr>
          <p:cNvSpPr>
            <a:spLocks noGrp="1"/>
          </p:cNvSpPr>
          <p:nvPr>
            <p:ph type="title"/>
          </p:nvPr>
        </p:nvSpPr>
        <p:spPr>
          <a:xfrm>
            <a:off x="838200" y="581672"/>
            <a:ext cx="10515600" cy="918078"/>
          </a:xfrm>
          <a:noFill/>
        </p:spPr>
        <p:txBody>
          <a:bodyPr/>
          <a:lstStyle/>
          <a:p>
            <a:pPr defTabSz="914400" rtl="1" eaLnBrk="1" latinLnBrk="0" hangingPunct="1">
              <a:lnSpc>
                <a:spcPct val="90000"/>
              </a:lnSpc>
              <a:spcBef>
                <a:spcPct val="0"/>
              </a:spcBef>
              <a:buNone/>
            </a:pPr>
            <a: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t>A recent performance audit report</a:t>
            </a:r>
          </a:p>
        </p:txBody>
      </p:sp>
      <p:sp>
        <p:nvSpPr>
          <p:cNvPr id="5" name="Text Placeholder 2">
            <a:extLst>
              <a:ext uri="{FF2B5EF4-FFF2-40B4-BE49-F238E27FC236}">
                <a16:creationId xmlns:a16="http://schemas.microsoft.com/office/drawing/2014/main" id="{421E041A-5F07-DA1C-353F-4595C1B18B63}"/>
              </a:ext>
            </a:extLst>
          </p:cNvPr>
          <p:cNvSpPr txBox="1">
            <a:spLocks/>
          </p:cNvSpPr>
          <p:nvPr/>
        </p:nvSpPr>
        <p:spPr>
          <a:xfrm>
            <a:off x="1471353" y="6101098"/>
            <a:ext cx="6624793" cy="607970"/>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GB" sz="1000" noProof="1">
                <a:solidFill>
                  <a:srgbClr val="8D3B1F"/>
                </a:solidFill>
                <a:latin typeface="Dubai" panose="020B0503030403030204" pitchFamily="34" charset="-78"/>
                <a:cs typeface="Dubai" panose="020B0503030403030204" pitchFamily="34" charset="-78"/>
              </a:rPr>
              <a:t>Link to report:</a:t>
            </a:r>
          </a:p>
          <a:p>
            <a:pPr marL="0" indent="0">
              <a:buNone/>
            </a:pPr>
            <a:r>
              <a:rPr lang="en-GB" sz="1000" noProof="1">
                <a:solidFill>
                  <a:srgbClr val="8D3B1F"/>
                </a:solidFill>
                <a:latin typeface="Dubai" panose="020B0503030403030204" pitchFamily="34" charset="-78"/>
                <a:cs typeface="Dubai" panose="020B0503030403030204" pitchFamily="34" charset="-78"/>
                <a:hlinkClick r:id="rId2"/>
              </a:rPr>
              <a:t>https://www.riksrevisjonen.no/en/reports2/en-2023-20242/the-use-of-artificial-intelligence-in-the-central-government/</a:t>
            </a:r>
            <a:r>
              <a:rPr lang="en-GB" sz="1000" noProof="1">
                <a:solidFill>
                  <a:srgbClr val="8D3B1F"/>
                </a:solidFill>
                <a:latin typeface="Dubai" panose="020B0503030403030204" pitchFamily="34" charset="-78"/>
                <a:cs typeface="Dubai" panose="020B0503030403030204" pitchFamily="34" charset="-78"/>
              </a:rPr>
              <a:t> </a:t>
            </a:r>
          </a:p>
        </p:txBody>
      </p:sp>
      <p:pic>
        <p:nvPicPr>
          <p:cNvPr id="2" name="Bilde 1">
            <a:extLst>
              <a:ext uri="{FF2B5EF4-FFF2-40B4-BE49-F238E27FC236}">
                <a16:creationId xmlns:a16="http://schemas.microsoft.com/office/drawing/2014/main" id="{62DC3860-069F-7B3E-7E5B-172C7E301EE4}"/>
              </a:ext>
            </a:extLst>
          </p:cNvPr>
          <p:cNvPicPr>
            <a:picLocks noChangeAspect="1"/>
          </p:cNvPicPr>
          <p:nvPr/>
        </p:nvPicPr>
        <p:blipFill>
          <a:blip r:embed="rId3"/>
          <a:stretch>
            <a:fillRect/>
          </a:stretch>
        </p:blipFill>
        <p:spPr>
          <a:xfrm>
            <a:off x="8096146" y="2028305"/>
            <a:ext cx="4095854" cy="4829695"/>
          </a:xfrm>
          <a:prstGeom prst="rect">
            <a:avLst/>
          </a:prstGeom>
        </p:spPr>
      </p:pic>
      <p:sp>
        <p:nvSpPr>
          <p:cNvPr id="6" name="Text Placeholder 2">
            <a:extLst>
              <a:ext uri="{FF2B5EF4-FFF2-40B4-BE49-F238E27FC236}">
                <a16:creationId xmlns:a16="http://schemas.microsoft.com/office/drawing/2014/main" id="{8927D459-0E67-AF8B-4464-E3A86A9DD9D6}"/>
              </a:ext>
            </a:extLst>
          </p:cNvPr>
          <p:cNvSpPr txBox="1">
            <a:spLocks/>
          </p:cNvSpPr>
          <p:nvPr/>
        </p:nvSpPr>
        <p:spPr>
          <a:xfrm>
            <a:off x="737532" y="2028305"/>
            <a:ext cx="6955172" cy="3544238"/>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noProof="1">
                <a:latin typeface="Tahoma" panose="020B0604030504040204" pitchFamily="34" charset="0"/>
                <a:ea typeface="Tahoma" panose="020B0604030504040204" pitchFamily="34" charset="0"/>
                <a:cs typeface="Tahoma" panose="020B0604030504040204" pitchFamily="34" charset="0"/>
              </a:rPr>
              <a:t>Some conclusions:</a:t>
            </a:r>
          </a:p>
          <a:p>
            <a:pPr marL="0" indent="0">
              <a:buNone/>
            </a:pPr>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Important prerequisites for the adoption of AI on a large scale are not yet in place </a:t>
            </a:r>
          </a:p>
          <a:p>
            <a:r>
              <a:rPr lang="en-GB" sz="2400" noProof="1">
                <a:latin typeface="Tahoma" panose="020B0604030504040204" pitchFamily="34" charset="0"/>
                <a:ea typeface="Tahoma" panose="020B0604030504040204" pitchFamily="34" charset="0"/>
                <a:cs typeface="Tahoma" panose="020B0604030504040204" pitchFamily="34" charset="0"/>
              </a:rPr>
              <a:t>The ethical principles for the responsible use of AI are observed to varying degrees</a:t>
            </a:r>
          </a:p>
          <a:p>
            <a:r>
              <a:rPr lang="en-GB" sz="2400" noProof="1">
                <a:latin typeface="Tahoma" panose="020B0604030504040204" pitchFamily="34" charset="0"/>
                <a:ea typeface="Tahoma" panose="020B0604030504040204" pitchFamily="34" charset="0"/>
                <a:cs typeface="Tahoma" panose="020B0604030504040204" pitchFamily="34" charset="0"/>
              </a:rPr>
              <a:t>The coordination of AI-related efforts in the public sector is inadequate.</a:t>
            </a:r>
          </a:p>
        </p:txBody>
      </p:sp>
    </p:spTree>
    <p:extLst>
      <p:ext uri="{BB962C8B-B14F-4D97-AF65-F5344CB8AC3E}">
        <p14:creationId xmlns:p14="http://schemas.microsoft.com/office/powerpoint/2010/main" val="3537237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CC2B852-283D-05BE-D0D0-47FEE09DFD0C}"/>
              </a:ext>
            </a:extLst>
          </p:cNvPr>
          <p:cNvSpPr>
            <a:spLocks noGrp="1"/>
          </p:cNvSpPr>
          <p:nvPr>
            <p:ph type="title"/>
          </p:nvPr>
        </p:nvSpPr>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Audit of AI in government – some possibilities…</a:t>
            </a:r>
          </a:p>
        </p:txBody>
      </p:sp>
      <p:sp>
        <p:nvSpPr>
          <p:cNvPr id="4" name="Plassholder for tekst 3">
            <a:extLst>
              <a:ext uri="{FF2B5EF4-FFF2-40B4-BE49-F238E27FC236}">
                <a16:creationId xmlns:a16="http://schemas.microsoft.com/office/drawing/2014/main" id="{04E6305D-C216-29D2-8459-C97206548F31}"/>
              </a:ext>
            </a:extLst>
          </p:cNvPr>
          <p:cNvSpPr>
            <a:spLocks noGrp="1"/>
          </p:cNvSpPr>
          <p:nvPr>
            <p:ph type="body" idx="1"/>
          </p:nvPr>
        </p:nvSpPr>
        <p:spPr>
          <a:xfrm>
            <a:off x="505619" y="1724131"/>
            <a:ext cx="11378406" cy="4962418"/>
          </a:xfrm>
        </p:spPr>
        <p:txBody>
          <a:bodyPr/>
          <a:lstStyle/>
          <a:p>
            <a:r>
              <a:rPr lang="en-GB" noProof="1">
                <a:latin typeface="Tahoma" panose="020B0604030504040204" pitchFamily="34" charset="0"/>
                <a:ea typeface="Tahoma" panose="020B0604030504040204" pitchFamily="34" charset="0"/>
                <a:cs typeface="Tahoma" panose="020B0604030504040204" pitchFamily="34" charset="0"/>
              </a:rPr>
              <a:t>Why AI? – if 80% of government agencies buy MS Copilot – what have you achieved?</a:t>
            </a:r>
          </a:p>
          <a:p>
            <a:pPr lvl="1"/>
            <a:r>
              <a:rPr lang="en-GB" noProof="1">
                <a:latin typeface="Tahoma" panose="020B0604030504040204" pitchFamily="34" charset="0"/>
                <a:ea typeface="Tahoma" panose="020B0604030504040204" pitchFamily="34" charset="0"/>
                <a:cs typeface="Tahoma" panose="020B0604030504040204" pitchFamily="34" charset="0"/>
              </a:rPr>
              <a:t>Higher productivity (or not)?</a:t>
            </a:r>
          </a:p>
          <a:p>
            <a:pPr lvl="1"/>
            <a:r>
              <a:rPr lang="en-GB" noProof="1">
                <a:latin typeface="Tahoma" panose="020B0604030504040204" pitchFamily="34" charset="0"/>
                <a:ea typeface="Tahoma" panose="020B0604030504040204" pitchFamily="34" charset="0"/>
                <a:cs typeface="Tahoma" panose="020B0604030504040204" pitchFamily="34" charset="0"/>
              </a:rPr>
              <a:t>Services of higher quality (or not)?</a:t>
            </a:r>
          </a:p>
          <a:p>
            <a:pPr marL="457200" lvl="1" indent="0">
              <a:buNone/>
            </a:pPr>
            <a:endParaRPr lang="en-GB" noProof="1">
              <a:latin typeface="Tahoma" panose="020B0604030504040204" pitchFamily="34" charset="0"/>
              <a:ea typeface="Tahoma" panose="020B0604030504040204" pitchFamily="34" charset="0"/>
              <a:cs typeface="Tahoma" panose="020B0604030504040204" pitchFamily="34" charset="0"/>
            </a:endParaRPr>
          </a:p>
          <a:p>
            <a:r>
              <a:rPr lang="en-GB" noProof="1">
                <a:latin typeface="Tahoma" panose="020B0604030504040204" pitchFamily="34" charset="0"/>
                <a:ea typeface="Tahoma" panose="020B0604030504040204" pitchFamily="34" charset="0"/>
                <a:cs typeface="Tahoma" panose="020B0604030504040204" pitchFamily="34" charset="0"/>
              </a:rPr>
              <a:t>What about digital/model sovereignty?</a:t>
            </a:r>
          </a:p>
          <a:p>
            <a:r>
              <a:rPr lang="en-GB" noProof="1">
                <a:latin typeface="Tahoma" panose="020B0604030504040204" pitchFamily="34" charset="0"/>
                <a:ea typeface="Tahoma" panose="020B0604030504040204" pitchFamily="34" charset="0"/>
                <a:cs typeface="Tahoma" panose="020B0604030504040204" pitchFamily="34" charset="0"/>
              </a:rPr>
              <a:t>What about language models and the (tiny) Norwegian language?</a:t>
            </a:r>
          </a:p>
          <a:p>
            <a:endParaRPr lang="en-GB" noProof="1">
              <a:latin typeface="Tahoma" panose="020B0604030504040204" pitchFamily="34" charset="0"/>
              <a:ea typeface="Tahoma" panose="020B0604030504040204" pitchFamily="34" charset="0"/>
              <a:cs typeface="Tahoma" panose="020B0604030504040204" pitchFamily="34" charset="0"/>
            </a:endParaRPr>
          </a:p>
          <a:p>
            <a:r>
              <a:rPr lang="en-GB" noProof="1">
                <a:latin typeface="Tahoma" panose="020B0604030504040204" pitchFamily="34" charset="0"/>
                <a:ea typeface="Tahoma" panose="020B0604030504040204" pitchFamily="34" charset="0"/>
                <a:cs typeface="Tahoma" panose="020B0604030504040204" pitchFamily="34" charset="0"/>
              </a:rPr>
              <a:t>AI hype –&gt; over-optimism, failed investments?</a:t>
            </a:r>
          </a:p>
          <a:p>
            <a:r>
              <a:rPr lang="en-GB" noProof="1">
                <a:latin typeface="Tahoma" panose="020B0604030504040204" pitchFamily="34" charset="0"/>
                <a:ea typeface="Tahoma" panose="020B0604030504040204" pitchFamily="34" charset="0"/>
                <a:cs typeface="Tahoma" panose="020B0604030504040204" pitchFamily="34" charset="0"/>
              </a:rPr>
              <a:t>Or too little, too slow?</a:t>
            </a:r>
          </a:p>
        </p:txBody>
      </p:sp>
    </p:spTree>
    <p:extLst>
      <p:ext uri="{BB962C8B-B14F-4D97-AF65-F5344CB8AC3E}">
        <p14:creationId xmlns:p14="http://schemas.microsoft.com/office/powerpoint/2010/main" val="382026903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023F2B9-4EAC-030F-CC39-961F1FF009A8}"/>
              </a:ext>
            </a:extLst>
          </p:cNvPr>
          <p:cNvSpPr>
            <a:spLocks noGrp="1"/>
          </p:cNvSpPr>
          <p:nvPr>
            <p:ph type="ctrTitle"/>
          </p:nvPr>
        </p:nvSpPr>
        <p:spPr>
          <a:xfrm>
            <a:off x="528637" y="1985528"/>
            <a:ext cx="8405637" cy="1443472"/>
          </a:xfrm>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Making use of AI at NAO Norway</a:t>
            </a:r>
          </a:p>
        </p:txBody>
      </p:sp>
      <p:sp>
        <p:nvSpPr>
          <p:cNvPr id="5" name="Undertittel 4">
            <a:extLst>
              <a:ext uri="{FF2B5EF4-FFF2-40B4-BE49-F238E27FC236}">
                <a16:creationId xmlns:a16="http://schemas.microsoft.com/office/drawing/2014/main" id="{64D7EBDB-BC0D-E4A5-EF8D-5B6C2CC4F559}"/>
              </a:ext>
            </a:extLst>
          </p:cNvPr>
          <p:cNvSpPr>
            <a:spLocks noGrp="1"/>
          </p:cNvSpPr>
          <p:nvPr>
            <p:ph type="subTitle" idx="1"/>
          </p:nvPr>
        </p:nvSpPr>
        <p:spPr>
          <a:xfrm>
            <a:off x="528637" y="3244442"/>
            <a:ext cx="5407025" cy="640276"/>
          </a:xfrm>
        </p:spPr>
        <p:txBody>
          <a:bodyPr/>
          <a:lstStyle/>
          <a:p>
            <a:endParaRPr lang="en-GB" noProof="1"/>
          </a:p>
        </p:txBody>
      </p:sp>
    </p:spTree>
    <p:extLst>
      <p:ext uri="{BB962C8B-B14F-4D97-AF65-F5344CB8AC3E}">
        <p14:creationId xmlns:p14="http://schemas.microsoft.com/office/powerpoint/2010/main" val="2712868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En utdyping tatt til orientering"/>
          <p:cNvSpPr txBox="1">
            <a:spLocks noGrp="1"/>
          </p:cNvSpPr>
          <p:nvPr>
            <p:ph type="body" idx="21"/>
          </p:nvPr>
        </p:nvSpPr>
        <p:spPr>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endParaRPr lang="en-GB" noProof="1">
              <a:latin typeface="Produkt Light" pitchFamily="2" charset="77"/>
              <a:ea typeface="Produkt Regular"/>
              <a:cs typeface="Produkt Regular"/>
              <a:sym typeface="Produkt Regular"/>
            </a:endParaRPr>
          </a:p>
        </p:txBody>
      </p:sp>
      <p:sp>
        <p:nvSpPr>
          <p:cNvPr id="186" name="En strategi vedtatt av kollegiet"/>
          <p:cNvSpPr txBox="1">
            <a:spLocks noGrp="1"/>
          </p:cNvSpPr>
          <p:nvPr>
            <p:ph type="title"/>
          </p:nvPr>
        </p:nvSpPr>
        <p:spPr>
          <a:xfrm>
            <a:off x="603250" y="317678"/>
            <a:ext cx="10985500" cy="844551"/>
          </a:xfrm>
          <a:prstGeom prst="rect">
            <a:avLst/>
          </a:prstGeom>
        </p:spPr>
        <p:txBody>
          <a:bodyPr/>
          <a:lstStyle/>
          <a:p>
            <a:pPr defTabSz="1158240">
              <a:defRPr sz="9500" spc="-95"/>
            </a:pPr>
            <a:r>
              <a:rPr lang="en-GB" sz="4000" noProof="1">
                <a:latin typeface="Tahoma" panose="020B0604030504040204" pitchFamily="34" charset="0"/>
                <a:ea typeface="Tahoma" panose="020B0604030504040204" pitchFamily="34" charset="0"/>
                <a:cs typeface="Tahoma" panose="020B0604030504040204" pitchFamily="34" charset="0"/>
              </a:rPr>
              <a:t>An AI Strategy</a:t>
            </a:r>
          </a:p>
        </p:txBody>
      </p:sp>
      <p:sp>
        <p:nvSpPr>
          <p:cNvPr id="187" name="3 strategiske mål…"/>
          <p:cNvSpPr txBox="1">
            <a:spLocks noGrp="1"/>
          </p:cNvSpPr>
          <p:nvPr>
            <p:ph type="body" idx="1"/>
          </p:nvPr>
        </p:nvSpPr>
        <p:spPr>
          <a:xfrm>
            <a:off x="603250" y="2508072"/>
            <a:ext cx="11176000" cy="2754220"/>
          </a:xfrm>
          <a:prstGeom prst="rect">
            <a:avLst/>
          </a:prstGeom>
        </p:spPr>
        <p:txBody>
          <a:bodyPr/>
          <a:lstStyle/>
          <a:p>
            <a:r>
              <a:rPr lang="en-GB" noProof="1">
                <a:latin typeface="Tahoma" panose="020B0604030504040204" pitchFamily="34" charset="0"/>
                <a:ea typeface="Tahoma" panose="020B0604030504040204" pitchFamily="34" charset="0"/>
                <a:cs typeface="Tahoma" panose="020B0604030504040204" pitchFamily="34" charset="0"/>
              </a:rPr>
              <a:t>4 strategic goals – what we shall do</a:t>
            </a:r>
          </a:p>
          <a:p>
            <a:endParaRPr lang="en-GB" noProof="1">
              <a:latin typeface="Tahoma" panose="020B0604030504040204" pitchFamily="34" charset="0"/>
              <a:ea typeface="Tahoma" panose="020B0604030504040204" pitchFamily="34" charset="0"/>
              <a:cs typeface="Tahoma" panose="020B0604030504040204" pitchFamily="34" charset="0"/>
            </a:endParaRPr>
          </a:p>
          <a:p>
            <a:r>
              <a:rPr lang="en-GB" noProof="1">
                <a:latin typeface="Tahoma" panose="020B0604030504040204" pitchFamily="34" charset="0"/>
                <a:ea typeface="Tahoma" panose="020B0604030504040204" pitchFamily="34" charset="0"/>
                <a:cs typeface="Tahoma" panose="020B0604030504040204" pitchFamily="34" charset="0"/>
              </a:rPr>
              <a:t>35 defined measures on what we concretely will do to achieve these goals</a:t>
            </a:r>
          </a:p>
          <a:p>
            <a:endParaRPr lang="en-GB" noProof="1">
              <a:latin typeface="Tahoma" panose="020B0604030504040204" pitchFamily="34" charset="0"/>
              <a:ea typeface="Tahoma" panose="020B0604030504040204" pitchFamily="34" charset="0"/>
              <a:cs typeface="Tahoma" panose="020B0604030504040204" pitchFamily="34" charset="0"/>
            </a:endParaRPr>
          </a:p>
          <a:p>
            <a:r>
              <a:rPr lang="en-GB" noProof="1">
                <a:latin typeface="Tahoma" panose="020B0604030504040204" pitchFamily="34" charset="0"/>
                <a:ea typeface="Tahoma" panose="020B0604030504040204" pitchFamily="34" charset="0"/>
                <a:cs typeface="Tahoma" panose="020B0604030504040204" pitchFamily="34" charset="0"/>
              </a:rPr>
              <a:t>… and what we say we will do - we shall</a:t>
            </a:r>
          </a:p>
        </p:txBody>
      </p:sp>
    </p:spTree>
    <p:extLst>
      <p:ext uri="{BB962C8B-B14F-4D97-AF65-F5344CB8AC3E}">
        <p14:creationId xmlns:p14="http://schemas.microsoft.com/office/powerpoint/2010/main" val="151193010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a:extLst>
              <a:ext uri="{FF2B5EF4-FFF2-40B4-BE49-F238E27FC236}">
                <a16:creationId xmlns:a16="http://schemas.microsoft.com/office/drawing/2014/main" id="{015E7DD3-FA91-2BC0-0175-FBD18C679050}"/>
              </a:ext>
            </a:extLst>
          </p:cNvPr>
          <p:cNvSpPr>
            <a:spLocks noGrp="1"/>
          </p:cNvSpPr>
          <p:nvPr>
            <p:ph type="title"/>
          </p:nvPr>
        </p:nvSpPr>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The NAO Norway’s strategy for AI</a:t>
            </a:r>
          </a:p>
        </p:txBody>
      </p:sp>
      <p:sp>
        <p:nvSpPr>
          <p:cNvPr id="5" name="Plassholder for innhold 4">
            <a:extLst>
              <a:ext uri="{FF2B5EF4-FFF2-40B4-BE49-F238E27FC236}">
                <a16:creationId xmlns:a16="http://schemas.microsoft.com/office/drawing/2014/main" id="{645B5ABE-9358-582F-2D25-3C7A7726F5DB}"/>
              </a:ext>
            </a:extLst>
          </p:cNvPr>
          <p:cNvSpPr>
            <a:spLocks noGrp="1"/>
          </p:cNvSpPr>
          <p:nvPr>
            <p:ph idx="1"/>
          </p:nvPr>
        </p:nvSpPr>
        <p:spPr>
          <a:xfrm>
            <a:off x="508000" y="2139091"/>
            <a:ext cx="11176000" cy="3938324"/>
          </a:xfrm>
        </p:spPr>
        <p:txBody>
          <a:bodyPr/>
          <a:lstStyle/>
          <a:p>
            <a:pPr marL="457200" indent="-457200">
              <a:buFont typeface="+mj-lt"/>
              <a:buAutoNum type="arabicPeriod"/>
            </a:pPr>
            <a:r>
              <a:rPr lang="en-GB" noProof="1">
                <a:latin typeface="Tahoma" panose="020B0604030504040204" pitchFamily="34" charset="0"/>
                <a:ea typeface="Tahoma" panose="020B0604030504040204" pitchFamily="34" charset="0"/>
                <a:cs typeface="Tahoma" panose="020B0604030504040204" pitchFamily="34" charset="0"/>
              </a:rPr>
              <a:t>The NAO Norway shall develop and implement tools based on artificial intelligence to support existing efficiency plans</a:t>
            </a:r>
          </a:p>
          <a:p>
            <a:pPr marL="457200" indent="-457200">
              <a:buFont typeface="+mj-lt"/>
              <a:buAutoNum type="arabicPeriod"/>
            </a:pPr>
            <a:endParaRPr lang="en-GB" noProof="1">
              <a:latin typeface="Tahoma" panose="020B0604030504040204" pitchFamily="34" charset="0"/>
              <a:ea typeface="Tahoma" panose="020B0604030504040204" pitchFamily="34" charset="0"/>
              <a:cs typeface="Tahoma" panose="020B0604030504040204" pitchFamily="34" charset="0"/>
            </a:endParaRPr>
          </a:p>
          <a:p>
            <a:pPr marL="457200" indent="-457200">
              <a:buFont typeface="+mj-lt"/>
              <a:buAutoNum type="arabicPeriod"/>
            </a:pPr>
            <a:r>
              <a:rPr lang="en-GB" noProof="1">
                <a:latin typeface="Tahoma" panose="020B0604030504040204" pitchFamily="34" charset="0"/>
                <a:ea typeface="Tahoma" panose="020B0604030504040204" pitchFamily="34" charset="0"/>
                <a:cs typeface="Tahoma" panose="020B0604030504040204" pitchFamily="34" charset="0"/>
              </a:rPr>
              <a:t>By the end of 2026, the NAO Norway shall have access to the necessary infrastructure and cutting-edge expertise to safely use artificial intelligence on a large scale</a:t>
            </a:r>
          </a:p>
          <a:p>
            <a:pPr marL="457200" indent="-457200">
              <a:buFont typeface="+mj-lt"/>
              <a:buAutoNum type="arabicPeriod"/>
            </a:pPr>
            <a:endParaRPr lang="en-GB" noProof="1">
              <a:latin typeface="Tahoma" panose="020B0604030504040204" pitchFamily="34" charset="0"/>
              <a:ea typeface="Tahoma" panose="020B0604030504040204" pitchFamily="34" charset="0"/>
              <a:cs typeface="Tahoma" panose="020B0604030504040204" pitchFamily="34" charset="0"/>
            </a:endParaRPr>
          </a:p>
          <a:p>
            <a:pPr marL="457200" indent="-457200">
              <a:buFont typeface="+mj-lt"/>
              <a:buAutoNum type="arabicPeriod"/>
            </a:pPr>
            <a:r>
              <a:rPr lang="en-GB" noProof="1">
                <a:latin typeface="Tahoma" panose="020B0604030504040204" pitchFamily="34" charset="0"/>
                <a:ea typeface="Tahoma" panose="020B0604030504040204" pitchFamily="34" charset="0"/>
                <a:cs typeface="Tahoma" panose="020B0604030504040204" pitchFamily="34" charset="0"/>
              </a:rPr>
              <a:t>The NAO Norway shall be established as a leader in auditing artificial intelligence by 2027.</a:t>
            </a:r>
          </a:p>
        </p:txBody>
      </p:sp>
    </p:spTree>
    <p:extLst>
      <p:ext uri="{BB962C8B-B14F-4D97-AF65-F5344CB8AC3E}">
        <p14:creationId xmlns:p14="http://schemas.microsoft.com/office/powerpoint/2010/main" val="2456031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86338E27-6D85-7D19-CB48-55CB10FF312A}"/>
              </a:ext>
            </a:extLst>
          </p:cNvPr>
          <p:cNvSpPr>
            <a:spLocks noGrp="1"/>
          </p:cNvSpPr>
          <p:nvPr>
            <p:ph type="title"/>
          </p:nvPr>
        </p:nvSpPr>
        <p:spPr/>
        <p:txBody>
          <a:bodyPr/>
          <a:lstStyle/>
          <a:p>
            <a:endParaRPr lang="en-GB" noProof="1"/>
          </a:p>
        </p:txBody>
      </p:sp>
      <p:pic>
        <p:nvPicPr>
          <p:cNvPr id="6" name="Bilde 5">
            <a:extLst>
              <a:ext uri="{FF2B5EF4-FFF2-40B4-BE49-F238E27FC236}">
                <a16:creationId xmlns:a16="http://schemas.microsoft.com/office/drawing/2014/main" id="{B71FB96F-104F-78BD-36FF-95DF4482503D}"/>
              </a:ext>
            </a:extLst>
          </p:cNvPr>
          <p:cNvPicPr>
            <a:picLocks noChangeAspect="1"/>
          </p:cNvPicPr>
          <p:nvPr/>
        </p:nvPicPr>
        <p:blipFill>
          <a:blip r:embed="rId2"/>
          <a:stretch>
            <a:fillRect/>
          </a:stretch>
        </p:blipFill>
        <p:spPr>
          <a:xfrm>
            <a:off x="508000" y="1019820"/>
            <a:ext cx="11176000" cy="4647221"/>
          </a:xfrm>
          <a:prstGeom prst="rect">
            <a:avLst/>
          </a:prstGeom>
        </p:spPr>
      </p:pic>
      <p:sp>
        <p:nvSpPr>
          <p:cNvPr id="8" name="TekstSylinder 7">
            <a:extLst>
              <a:ext uri="{FF2B5EF4-FFF2-40B4-BE49-F238E27FC236}">
                <a16:creationId xmlns:a16="http://schemas.microsoft.com/office/drawing/2014/main" id="{54FB53EC-D674-7759-5E33-7669C5169AC8}"/>
              </a:ext>
            </a:extLst>
          </p:cNvPr>
          <p:cNvSpPr txBox="1"/>
          <p:nvPr/>
        </p:nvSpPr>
        <p:spPr>
          <a:xfrm>
            <a:off x="592156" y="5838180"/>
            <a:ext cx="6097836" cy="36933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r>
              <a:rPr lang="en-GB" noProof="1">
                <a:hlinkClick r:id="rId3"/>
              </a:rPr>
              <a:t>https://oecd-opsi.org/work-areas/ai/</a:t>
            </a:r>
            <a:r>
              <a:rPr lang="en-GB" noProof="1"/>
              <a:t> </a:t>
            </a:r>
          </a:p>
        </p:txBody>
      </p:sp>
    </p:spTree>
    <p:extLst>
      <p:ext uri="{BB962C8B-B14F-4D97-AF65-F5344CB8AC3E}">
        <p14:creationId xmlns:p14="http://schemas.microsoft.com/office/powerpoint/2010/main" val="10994603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0575097-0313-E1E6-79B6-F53CDE9F3955}"/>
              </a:ext>
            </a:extLst>
          </p:cNvPr>
          <p:cNvSpPr>
            <a:spLocks noGrp="1"/>
          </p:cNvSpPr>
          <p:nvPr>
            <p:ph type="title"/>
          </p:nvPr>
        </p:nvSpPr>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Examples – measures under Goal 1</a:t>
            </a:r>
          </a:p>
        </p:txBody>
      </p:sp>
      <p:sp>
        <p:nvSpPr>
          <p:cNvPr id="3" name="Plassholder for innhold 2">
            <a:extLst>
              <a:ext uri="{FF2B5EF4-FFF2-40B4-BE49-F238E27FC236}">
                <a16:creationId xmlns:a16="http://schemas.microsoft.com/office/drawing/2014/main" id="{5D3D2C56-40C7-BA2E-B492-2C79E99D20FD}"/>
              </a:ext>
            </a:extLst>
          </p:cNvPr>
          <p:cNvSpPr>
            <a:spLocks noGrp="1"/>
          </p:cNvSpPr>
          <p:nvPr>
            <p:ph idx="1"/>
          </p:nvPr>
        </p:nvSpPr>
        <p:spPr>
          <a:xfrm>
            <a:off x="508000" y="2346545"/>
            <a:ext cx="11176000" cy="3021897"/>
          </a:xfrm>
        </p:spPr>
        <p:txBody>
          <a:bodyPr/>
          <a:lstStyle/>
          <a:p>
            <a:pPr marL="0" indent="0" fontAlgn="base">
              <a:buNone/>
            </a:pPr>
            <a:r>
              <a:rPr lang="en-GB" noProof="1">
                <a:latin typeface="Tahoma" panose="020B0604030504040204" pitchFamily="34" charset="0"/>
                <a:ea typeface="Tahoma" panose="020B0604030504040204" pitchFamily="34" charset="0"/>
                <a:cs typeface="Tahoma" panose="020B0604030504040204" pitchFamily="34" charset="0"/>
              </a:rPr>
              <a:t>We shall…</a:t>
            </a:r>
          </a:p>
          <a:p>
            <a:pPr fontAlgn="base"/>
            <a:r>
              <a:rPr lang="en-GB" noProof="1">
                <a:latin typeface="Tahoma" panose="020B0604030504040204" pitchFamily="34" charset="0"/>
                <a:ea typeface="Tahoma" panose="020B0604030504040204" pitchFamily="34" charset="0"/>
                <a:cs typeface="Tahoma" panose="020B0604030504040204" pitchFamily="34" charset="0"/>
              </a:rPr>
              <a:t>develop and deploy AI services based on local, customized models​</a:t>
            </a:r>
          </a:p>
          <a:p>
            <a:pPr fontAlgn="base"/>
            <a:r>
              <a:rPr lang="en-GB" noProof="1">
                <a:latin typeface="Tahoma" panose="020B0604030504040204" pitchFamily="34" charset="0"/>
                <a:ea typeface="Tahoma" panose="020B0604030504040204" pitchFamily="34" charset="0"/>
                <a:cs typeface="Tahoma" panose="020B0604030504040204" pitchFamily="34" charset="0"/>
              </a:rPr>
              <a:t>streamline work within technology-related development projects - e.g. AI assistants for coding​</a:t>
            </a:r>
          </a:p>
          <a:p>
            <a:pPr fontAlgn="base"/>
            <a:r>
              <a:rPr lang="en-GB" noProof="1">
                <a:latin typeface="Tahoma" panose="020B0604030504040204" pitchFamily="34" charset="0"/>
                <a:ea typeface="Tahoma" panose="020B0604030504040204" pitchFamily="34" charset="0"/>
                <a:cs typeface="Tahoma" panose="020B0604030504040204" pitchFamily="34" charset="0"/>
              </a:rPr>
              <a:t>prepare datasets that can be used for further training (fine-tuning) of language models adapted to the needs of the NAO Norway</a:t>
            </a:r>
          </a:p>
        </p:txBody>
      </p:sp>
    </p:spTree>
    <p:extLst>
      <p:ext uri="{BB962C8B-B14F-4D97-AF65-F5344CB8AC3E}">
        <p14:creationId xmlns:p14="http://schemas.microsoft.com/office/powerpoint/2010/main" val="33855248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39465EC-57E9-61AB-3C9C-BB129BB05CC3}"/>
              </a:ext>
            </a:extLst>
          </p:cNvPr>
          <p:cNvSpPr>
            <a:spLocks noGrp="1"/>
          </p:cNvSpPr>
          <p:nvPr>
            <p:ph type="title"/>
          </p:nvPr>
        </p:nvSpPr>
        <p:spPr>
          <a:xfrm>
            <a:off x="508000" y="453005"/>
            <a:ext cx="5229859" cy="3133701"/>
          </a:xfrm>
        </p:spPr>
        <p:txBody>
          <a:bodyPr/>
          <a:lstStyle/>
          <a:p>
            <a:r>
              <a:rPr lang="en-GB" sz="2400" noProof="1">
                <a:latin typeface="Tahoma" panose="020B0604030504040204" pitchFamily="34" charset="0"/>
                <a:ea typeface="Tahoma" panose="020B0604030504040204" pitchFamily="34" charset="0"/>
                <a:cs typeface="Tahoma" panose="020B0604030504040204" pitchFamily="34" charset="0"/>
              </a:rPr>
              <a:t>So what about AI agents? Sure. </a:t>
            </a:r>
            <a:br>
              <a:rPr lang="en-GB" sz="2400" noProof="1">
                <a:latin typeface="Tahoma" panose="020B0604030504040204" pitchFamily="34" charset="0"/>
                <a:ea typeface="Tahoma" panose="020B0604030504040204" pitchFamily="34" charset="0"/>
                <a:cs typeface="Tahoma" panose="020B0604030504040204" pitchFamily="34" charset="0"/>
              </a:rPr>
            </a:br>
            <a:br>
              <a:rPr lang="en-GB" sz="2400" noProof="1">
                <a:latin typeface="Tahoma" panose="020B0604030504040204" pitchFamily="34" charset="0"/>
                <a:ea typeface="Tahoma" panose="020B0604030504040204" pitchFamily="34" charset="0"/>
                <a:cs typeface="Tahoma" panose="020B0604030504040204" pitchFamily="34" charset="0"/>
              </a:rPr>
            </a:br>
            <a:br>
              <a:rPr lang="en-GB" sz="2400" noProof="1">
                <a:latin typeface="Tahoma" panose="020B0604030504040204" pitchFamily="34" charset="0"/>
                <a:ea typeface="Tahoma" panose="020B0604030504040204" pitchFamily="34" charset="0"/>
                <a:cs typeface="Tahoma" panose="020B0604030504040204" pitchFamily="34" charset="0"/>
              </a:rPr>
            </a:br>
            <a:r>
              <a:rPr lang="en-GB" sz="2400" noProof="1">
                <a:latin typeface="Tahoma" panose="020B0604030504040204" pitchFamily="34" charset="0"/>
                <a:ea typeface="Tahoma" panose="020B0604030504040204" pitchFamily="34" charset="0"/>
                <a:cs typeface="Tahoma" panose="020B0604030504040204" pitchFamily="34" charset="0"/>
              </a:rPr>
              <a:t>...but we're going to do things properly </a:t>
            </a:r>
            <a:br>
              <a:rPr lang="en-GB" sz="2400" noProof="1">
                <a:latin typeface="Tahoma" panose="020B0604030504040204" pitchFamily="34" charset="0"/>
                <a:ea typeface="Tahoma" panose="020B0604030504040204" pitchFamily="34" charset="0"/>
                <a:cs typeface="Tahoma" panose="020B0604030504040204" pitchFamily="34" charset="0"/>
              </a:rPr>
            </a:br>
            <a:br>
              <a:rPr lang="en-GB" sz="2400" noProof="1">
                <a:latin typeface="Tahoma" panose="020B0604030504040204" pitchFamily="34" charset="0"/>
                <a:ea typeface="Tahoma" panose="020B0604030504040204" pitchFamily="34" charset="0"/>
                <a:cs typeface="Tahoma" panose="020B0604030504040204" pitchFamily="34" charset="0"/>
              </a:rPr>
            </a:br>
            <a:r>
              <a:rPr lang="en-GB" sz="2400" noProof="1">
                <a:latin typeface="Tahoma" panose="020B0604030504040204" pitchFamily="34" charset="0"/>
                <a:ea typeface="Tahoma" panose="020B0604030504040204" pitchFamily="34" charset="0"/>
                <a:cs typeface="Tahoma" panose="020B0604030504040204" pitchFamily="34" charset="0"/>
              </a:rPr>
              <a:t>- immature technology </a:t>
            </a:r>
            <a:br>
              <a:rPr lang="en-GB" sz="2400" noProof="1">
                <a:latin typeface="Tahoma" panose="020B0604030504040204" pitchFamily="34" charset="0"/>
                <a:ea typeface="Tahoma" panose="020B0604030504040204" pitchFamily="34" charset="0"/>
                <a:cs typeface="Tahoma" panose="020B0604030504040204" pitchFamily="34" charset="0"/>
              </a:rPr>
            </a:br>
            <a:r>
              <a:rPr lang="en-GB" sz="2400" noProof="1">
                <a:latin typeface="Tahoma" panose="020B0604030504040204" pitchFamily="34" charset="0"/>
                <a:ea typeface="Tahoma" panose="020B0604030504040204" pitchFamily="34" charset="0"/>
                <a:cs typeface="Tahoma" panose="020B0604030504040204" pitchFamily="34" charset="0"/>
              </a:rPr>
              <a:t>- risk</a:t>
            </a:r>
            <a:br>
              <a:rPr lang="en-GB" sz="2400" noProof="1">
                <a:latin typeface="Tahoma" panose="020B0604030504040204" pitchFamily="34" charset="0"/>
                <a:ea typeface="Tahoma" panose="020B0604030504040204" pitchFamily="34" charset="0"/>
                <a:cs typeface="Tahoma" panose="020B0604030504040204" pitchFamily="34" charset="0"/>
              </a:rPr>
            </a:br>
            <a:br>
              <a:rPr lang="en-GB" sz="2400" noProof="1">
                <a:latin typeface="Tahoma" panose="020B0604030504040204" pitchFamily="34" charset="0"/>
                <a:ea typeface="Tahoma" panose="020B0604030504040204" pitchFamily="34" charset="0"/>
                <a:cs typeface="Tahoma" panose="020B0604030504040204" pitchFamily="34" charset="0"/>
              </a:rPr>
            </a:br>
            <a:br>
              <a:rPr lang="en-GB" sz="2400" noProof="1">
                <a:latin typeface="Tahoma" panose="020B0604030504040204" pitchFamily="34" charset="0"/>
                <a:ea typeface="Tahoma" panose="020B0604030504040204" pitchFamily="34" charset="0"/>
                <a:cs typeface="Tahoma" panose="020B0604030504040204" pitchFamily="34" charset="0"/>
              </a:rPr>
            </a:br>
            <a:endParaRPr lang="en-GB" sz="2400" noProof="1">
              <a:latin typeface="Tahoma" panose="020B0604030504040204" pitchFamily="34" charset="0"/>
              <a:ea typeface="Tahoma" panose="020B0604030504040204" pitchFamily="34" charset="0"/>
              <a:cs typeface="Tahoma" panose="020B0604030504040204" pitchFamily="34" charset="0"/>
            </a:endParaRPr>
          </a:p>
        </p:txBody>
      </p:sp>
      <p:pic>
        <p:nvPicPr>
          <p:cNvPr id="4" name="Plassholder for innhold 3">
            <a:extLst>
              <a:ext uri="{FF2B5EF4-FFF2-40B4-BE49-F238E27FC236}">
                <a16:creationId xmlns:a16="http://schemas.microsoft.com/office/drawing/2014/main" id="{04548B57-6EB7-E85B-37B9-10502409AA5A}"/>
              </a:ext>
            </a:extLst>
          </p:cNvPr>
          <p:cNvPicPr>
            <a:picLocks noGrp="1" noChangeAspect="1"/>
          </p:cNvPicPr>
          <p:nvPr>
            <p:ph idx="1"/>
          </p:nvPr>
        </p:nvPicPr>
        <p:blipFill>
          <a:blip r:embed="rId2"/>
          <a:stretch>
            <a:fillRect/>
          </a:stretch>
        </p:blipFill>
        <p:spPr>
          <a:xfrm>
            <a:off x="6454142" y="242888"/>
            <a:ext cx="5318758" cy="6421908"/>
          </a:xfrm>
          <a:prstGeom prst="rect">
            <a:avLst/>
          </a:prstGeom>
        </p:spPr>
      </p:pic>
      <p:sp>
        <p:nvSpPr>
          <p:cNvPr id="3" name="Rektangel 2">
            <a:extLst>
              <a:ext uri="{FF2B5EF4-FFF2-40B4-BE49-F238E27FC236}">
                <a16:creationId xmlns:a16="http://schemas.microsoft.com/office/drawing/2014/main" id="{8ABEAFA7-2931-4F87-E2DB-3BEDFB2EC940}"/>
              </a:ext>
            </a:extLst>
          </p:cNvPr>
          <p:cNvSpPr/>
          <p:nvPr/>
        </p:nvSpPr>
        <p:spPr>
          <a:xfrm>
            <a:off x="6769916" y="436228"/>
            <a:ext cx="4865614" cy="10066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1"/>
          </a:p>
        </p:txBody>
      </p:sp>
      <p:pic>
        <p:nvPicPr>
          <p:cNvPr id="5" name="Bilde 4">
            <a:extLst>
              <a:ext uri="{FF2B5EF4-FFF2-40B4-BE49-F238E27FC236}">
                <a16:creationId xmlns:a16="http://schemas.microsoft.com/office/drawing/2014/main" id="{B6212069-A06E-EA16-690B-76845BA0AD4C}"/>
              </a:ext>
            </a:extLst>
          </p:cNvPr>
          <p:cNvPicPr>
            <a:picLocks noChangeAspect="1"/>
          </p:cNvPicPr>
          <p:nvPr/>
        </p:nvPicPr>
        <p:blipFill>
          <a:blip r:embed="rId3"/>
          <a:stretch>
            <a:fillRect/>
          </a:stretch>
        </p:blipFill>
        <p:spPr>
          <a:xfrm>
            <a:off x="2553629" y="3187511"/>
            <a:ext cx="3874562" cy="3477286"/>
          </a:xfrm>
          <a:prstGeom prst="rect">
            <a:avLst/>
          </a:prstGeom>
        </p:spPr>
      </p:pic>
    </p:spTree>
    <p:extLst>
      <p:ext uri="{BB962C8B-B14F-4D97-AF65-F5344CB8AC3E}">
        <p14:creationId xmlns:p14="http://schemas.microsoft.com/office/powerpoint/2010/main" val="20644899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B95C9513-38B3-AA71-F52B-12D58FE0AAAE}"/>
              </a:ext>
            </a:extLst>
          </p:cNvPr>
          <p:cNvSpPr>
            <a:spLocks noGrp="1"/>
          </p:cNvSpPr>
          <p:nvPr>
            <p:ph type="title"/>
          </p:nvPr>
        </p:nvSpPr>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Selected measures under Objective 2</a:t>
            </a:r>
          </a:p>
        </p:txBody>
      </p:sp>
      <p:sp>
        <p:nvSpPr>
          <p:cNvPr id="5" name="Plassholder for innhold 4">
            <a:extLst>
              <a:ext uri="{FF2B5EF4-FFF2-40B4-BE49-F238E27FC236}">
                <a16:creationId xmlns:a16="http://schemas.microsoft.com/office/drawing/2014/main" id="{B7D0B443-4FAA-28E6-A64C-6F4EE7AD3413}"/>
              </a:ext>
            </a:extLst>
          </p:cNvPr>
          <p:cNvSpPr>
            <a:spLocks noGrp="1"/>
          </p:cNvSpPr>
          <p:nvPr>
            <p:ph idx="1"/>
          </p:nvPr>
        </p:nvSpPr>
        <p:spPr>
          <a:xfrm>
            <a:off x="508000" y="2033063"/>
            <a:ext cx="11176000" cy="3453337"/>
          </a:xfrm>
        </p:spPr>
        <p:txBody>
          <a:bodyPr/>
          <a:lstStyle/>
          <a:p>
            <a:pPr marL="0" indent="0" fontAlgn="base">
              <a:buNone/>
            </a:pPr>
            <a:r>
              <a:rPr lang="en-GB" noProof="1">
                <a:latin typeface="Tahoma" panose="020B0604030504040204" pitchFamily="34" charset="0"/>
                <a:ea typeface="Tahoma" panose="020B0604030504040204" pitchFamily="34" charset="0"/>
                <a:cs typeface="Tahoma" panose="020B0604030504040204" pitchFamily="34" charset="0"/>
              </a:rPr>
              <a:t>We shall…</a:t>
            </a:r>
          </a:p>
          <a:p>
            <a:pPr fontAlgn="base"/>
            <a:r>
              <a:rPr lang="en-GB" noProof="1">
                <a:latin typeface="Tahoma" panose="020B0604030504040204" pitchFamily="34" charset="0"/>
                <a:ea typeface="Tahoma" panose="020B0604030504040204" pitchFamily="34" charset="0"/>
                <a:cs typeface="Tahoma" panose="020B0604030504040204" pitchFamily="34" charset="0"/>
              </a:rPr>
              <a:t>invest in the necessary infrastructure to run AI models – including custom language models – in our own data center</a:t>
            </a:r>
          </a:p>
          <a:p>
            <a:pPr fontAlgn="base"/>
            <a:r>
              <a:rPr lang="en-GB" noProof="1">
                <a:latin typeface="Tahoma" panose="020B0604030504040204" pitchFamily="34" charset="0"/>
                <a:ea typeface="Tahoma" panose="020B0604030504040204" pitchFamily="34" charset="0"/>
                <a:cs typeface="Tahoma" panose="020B0604030504040204" pitchFamily="34" charset="0"/>
              </a:rPr>
              <a:t>develop cutting-edge expertise in training and validating AI models adapted to the needs of the NAO Norway, including explainability in artificial intelligence (xAI)​</a:t>
            </a:r>
          </a:p>
          <a:p>
            <a:pPr fontAlgn="base"/>
            <a:r>
              <a:rPr lang="en-GB" noProof="1">
                <a:latin typeface="Tahoma" panose="020B0604030504040204" pitchFamily="34" charset="0"/>
                <a:ea typeface="Tahoma" panose="020B0604030504040204" pitchFamily="34" charset="0"/>
                <a:cs typeface="Tahoma" panose="020B0604030504040204" pitchFamily="34" charset="0"/>
              </a:rPr>
              <a:t>recruiting necessary expertise in artificial intelligence and software development</a:t>
            </a:r>
          </a:p>
          <a:p>
            <a:pPr lvl="1" fontAlgn="base"/>
            <a:r>
              <a:rPr lang="en-GB" sz="1800" noProof="1">
                <a:latin typeface="Tahoma" panose="020B0604030504040204" pitchFamily="34" charset="0"/>
                <a:ea typeface="Tahoma" panose="020B0604030504040204" pitchFamily="34" charset="0"/>
                <a:cs typeface="Tahoma" panose="020B0604030504040204" pitchFamily="34" charset="0"/>
              </a:rPr>
              <a:t>Last two hires had both a phd in computational linguistics</a:t>
            </a:r>
          </a:p>
        </p:txBody>
      </p:sp>
    </p:spTree>
    <p:extLst>
      <p:ext uri="{BB962C8B-B14F-4D97-AF65-F5344CB8AC3E}">
        <p14:creationId xmlns:p14="http://schemas.microsoft.com/office/powerpoint/2010/main" val="21867628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34E10-6499-0111-84E1-3DB5FAB58FF8}"/>
            </a:ext>
          </a:extLst>
        </p:cNvPr>
        <p:cNvGrpSpPr/>
        <p:nvPr/>
      </p:nvGrpSpPr>
      <p:grpSpPr>
        <a:xfrm>
          <a:off x="0" y="0"/>
          <a:ext cx="0" cy="0"/>
          <a:chOff x="0" y="0"/>
          <a:chExt cx="0" cy="0"/>
        </a:xfrm>
      </p:grpSpPr>
      <p:sp>
        <p:nvSpPr>
          <p:cNvPr id="247" name="Kjøpe maskinvare">
            <a:extLst>
              <a:ext uri="{FF2B5EF4-FFF2-40B4-BE49-F238E27FC236}">
                <a16:creationId xmlns:a16="http://schemas.microsoft.com/office/drawing/2014/main" id="{29CD467F-8DB6-102F-3C13-756C639C9C79}"/>
              </a:ext>
            </a:extLst>
          </p:cNvPr>
          <p:cNvSpPr txBox="1">
            <a:spLocks noGrp="1"/>
          </p:cNvSpPr>
          <p:nvPr>
            <p:ph type="title"/>
          </p:nvPr>
        </p:nvSpPr>
        <p:spPr>
          <a:prstGeom prst="rect">
            <a:avLst/>
          </a:prstGeom>
        </p:spPr>
        <p:txBody>
          <a:bodyPr/>
          <a:lstStyle>
            <a:lvl1pPr defTabSz="2316479">
              <a:defRPr sz="9500" spc="-95"/>
            </a:lvl1pPr>
          </a:lstStyle>
          <a:p>
            <a:r>
              <a:rPr lang="en-GB" sz="4000" noProof="1">
                <a:latin typeface="Tahoma" panose="020B0604030504040204" pitchFamily="34" charset="0"/>
                <a:ea typeface="Tahoma" panose="020B0604030504040204" pitchFamily="34" charset="0"/>
                <a:cs typeface="Tahoma" panose="020B0604030504040204" pitchFamily="34" charset="0"/>
              </a:rPr>
              <a:t>Bought our own Nvidia GPU-cluster </a:t>
            </a:r>
          </a:p>
        </p:txBody>
      </p:sp>
      <p:pic>
        <p:nvPicPr>
          <p:cNvPr id="2" name="innlimt film.png" descr="innlimt film.png">
            <a:extLst>
              <a:ext uri="{FF2B5EF4-FFF2-40B4-BE49-F238E27FC236}">
                <a16:creationId xmlns:a16="http://schemas.microsoft.com/office/drawing/2014/main" id="{FA1DBD1F-3E96-F22F-2ADF-AA869A457553}"/>
              </a:ext>
            </a:extLst>
          </p:cNvPr>
          <p:cNvPicPr>
            <a:picLocks noChangeAspect="1"/>
          </p:cNvPicPr>
          <p:nvPr/>
        </p:nvPicPr>
        <p:blipFill>
          <a:blip r:embed="rId2"/>
          <a:stretch>
            <a:fillRect/>
          </a:stretch>
        </p:blipFill>
        <p:spPr>
          <a:xfrm>
            <a:off x="6179986" y="2993500"/>
            <a:ext cx="5145135" cy="3278808"/>
          </a:xfrm>
          <a:prstGeom prst="rect">
            <a:avLst/>
          </a:prstGeom>
          <a:ln w="12700">
            <a:solidFill>
              <a:srgbClr val="000000"/>
            </a:solidFill>
            <a:miter lim="400000"/>
          </a:ln>
        </p:spPr>
      </p:pic>
      <p:pic>
        <p:nvPicPr>
          <p:cNvPr id="4098" name="Picture 2" descr="Et bilde som inneholder elektronikk, innendørs, Elektronteknikk, Elektrisk kobling&#10;&#10;KI-generert innhold kan være feil.">
            <a:extLst>
              <a:ext uri="{FF2B5EF4-FFF2-40B4-BE49-F238E27FC236}">
                <a16:creationId xmlns:a16="http://schemas.microsoft.com/office/drawing/2014/main" id="{3BEB2ACC-4C5D-60C5-A9D3-4ED4DA3E11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372" y="1550125"/>
            <a:ext cx="4930306" cy="3757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364303"/>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78149E87-422D-5C5D-0BA4-B360F693D446}"/>
              </a:ext>
            </a:extLst>
          </p:cNvPr>
          <p:cNvSpPr>
            <a:spLocks noGrp="1"/>
          </p:cNvSpPr>
          <p:nvPr>
            <p:ph type="title"/>
          </p:nvPr>
        </p:nvSpPr>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Selected measures under Objective 3</a:t>
            </a:r>
          </a:p>
        </p:txBody>
      </p:sp>
      <p:sp>
        <p:nvSpPr>
          <p:cNvPr id="6" name="Plassholder for innhold 5">
            <a:extLst>
              <a:ext uri="{FF2B5EF4-FFF2-40B4-BE49-F238E27FC236}">
                <a16:creationId xmlns:a16="http://schemas.microsoft.com/office/drawing/2014/main" id="{E240AABB-AA2F-6244-F909-A3B174E2B703}"/>
              </a:ext>
            </a:extLst>
          </p:cNvPr>
          <p:cNvSpPr>
            <a:spLocks noGrp="1"/>
          </p:cNvSpPr>
          <p:nvPr>
            <p:ph idx="1"/>
          </p:nvPr>
        </p:nvSpPr>
        <p:spPr>
          <a:xfrm>
            <a:off x="508000" y="2058463"/>
            <a:ext cx="11176000" cy="2970737"/>
          </a:xfrm>
        </p:spPr>
        <p:txBody>
          <a:bodyPr>
            <a:normAutofit lnSpcReduction="10000"/>
          </a:bodyPr>
          <a:lstStyle/>
          <a:p>
            <a:pPr fontAlgn="base"/>
            <a:r>
              <a:rPr lang="en-GB" noProof="1">
                <a:latin typeface="Tahoma" panose="020B0604030504040204" pitchFamily="34" charset="0"/>
                <a:ea typeface="Tahoma" panose="020B0604030504040204" pitchFamily="34" charset="0"/>
                <a:cs typeface="Tahoma" panose="020B0604030504040204" pitchFamily="34" charset="0"/>
              </a:rPr>
              <a:t>Collaborate internationally with other national audit offices in developing audit methodology related to auditing algorithms.</a:t>
            </a:r>
          </a:p>
          <a:p>
            <a:pPr fontAlgn="base"/>
            <a:endParaRPr lang="en-GB" noProof="1">
              <a:latin typeface="Tahoma" panose="020B0604030504040204" pitchFamily="34" charset="0"/>
              <a:ea typeface="Tahoma" panose="020B0604030504040204" pitchFamily="34" charset="0"/>
              <a:cs typeface="Tahoma" panose="020B0604030504040204" pitchFamily="34" charset="0"/>
            </a:endParaRPr>
          </a:p>
          <a:p>
            <a:pPr fontAlgn="base"/>
            <a:r>
              <a:rPr lang="en-GB" noProof="1">
                <a:latin typeface="Tahoma" panose="020B0604030504040204" pitchFamily="34" charset="0"/>
                <a:ea typeface="Tahoma" panose="020B0604030504040204" pitchFamily="34" charset="0"/>
                <a:cs typeface="Tahoma" panose="020B0604030504040204" pitchFamily="34" charset="0"/>
              </a:rPr>
              <a:t>Partner with an AI Research Lab at a university to exchange experience in AI and in the field of Explainable AI (xAI) in particular.</a:t>
            </a:r>
          </a:p>
          <a:p>
            <a:pPr lvl="1" fontAlgn="base"/>
            <a:r>
              <a:rPr lang="en-GB" sz="1800" noProof="1">
                <a:latin typeface="Tahoma" panose="020B0604030504040204" pitchFamily="34" charset="0"/>
                <a:ea typeface="Tahoma" panose="020B0604030504040204" pitchFamily="34" charset="0"/>
                <a:cs typeface="Tahoma" panose="020B0604030504040204" pitchFamily="34" charset="0"/>
              </a:rPr>
              <a:t>Funds a phd in xAI</a:t>
            </a:r>
          </a:p>
          <a:p>
            <a:pPr lvl="1" fontAlgn="base"/>
            <a:r>
              <a:rPr lang="en-GB" sz="1800" noProof="1">
                <a:latin typeface="Tahoma" panose="020B0604030504040204" pitchFamily="34" charset="0"/>
                <a:ea typeface="Tahoma" panose="020B0604030504040204" pitchFamily="34" charset="0"/>
                <a:cs typeface="Tahoma" panose="020B0604030504040204" pitchFamily="34" charset="0"/>
              </a:rPr>
              <a:t>Masterstudents in computer science do their thesis in collaboration with us</a:t>
            </a:r>
          </a:p>
          <a:p>
            <a:pPr lvl="1" fontAlgn="base"/>
            <a:r>
              <a:rPr lang="en-GB" sz="1800" noProof="1">
                <a:latin typeface="Tahoma" panose="020B0604030504040204" pitchFamily="34" charset="0"/>
                <a:ea typeface="Tahoma" panose="020B0604030504040204" pitchFamily="34" charset="0"/>
                <a:cs typeface="Tahoma" panose="020B0604030504040204" pitchFamily="34" charset="0"/>
              </a:rPr>
              <a:t>Seminars/events etc. at the university  </a:t>
            </a:r>
          </a:p>
        </p:txBody>
      </p:sp>
    </p:spTree>
    <p:extLst>
      <p:ext uri="{BB962C8B-B14F-4D97-AF65-F5344CB8AC3E}">
        <p14:creationId xmlns:p14="http://schemas.microsoft.com/office/powerpoint/2010/main" val="780638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158FF7E6-805B-F2D3-0704-9A1ABA23A3B3}"/>
              </a:ext>
            </a:extLst>
          </p:cNvPr>
          <p:cNvSpPr>
            <a:spLocks noGrp="1"/>
          </p:cNvSpPr>
          <p:nvPr>
            <p:ph type="title"/>
          </p:nvPr>
        </p:nvSpPr>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Some AI-based products</a:t>
            </a:r>
            <a:br>
              <a:rPr lang="en-GB" sz="4000" noProof="1">
                <a:latin typeface="Tahoma" panose="020B0604030504040204" pitchFamily="34" charset="0"/>
                <a:ea typeface="Tahoma" panose="020B0604030504040204" pitchFamily="34" charset="0"/>
                <a:cs typeface="Tahoma" panose="020B0604030504040204" pitchFamily="34" charset="0"/>
              </a:rPr>
            </a:br>
            <a:endParaRPr lang="en-GB" sz="4000" noProof="1">
              <a:latin typeface="Tahoma" panose="020B0604030504040204" pitchFamily="34" charset="0"/>
              <a:ea typeface="Tahoma" panose="020B0604030504040204" pitchFamily="34" charset="0"/>
              <a:cs typeface="Tahoma" panose="020B0604030504040204" pitchFamily="34" charset="0"/>
            </a:endParaRPr>
          </a:p>
        </p:txBody>
      </p:sp>
      <p:sp>
        <p:nvSpPr>
          <p:cNvPr id="2" name="Plassholder for innhold 1">
            <a:extLst>
              <a:ext uri="{FF2B5EF4-FFF2-40B4-BE49-F238E27FC236}">
                <a16:creationId xmlns:a16="http://schemas.microsoft.com/office/drawing/2014/main" id="{B6D67EB6-ECA0-070C-3089-1AC12481E928}"/>
              </a:ext>
            </a:extLst>
          </p:cNvPr>
          <p:cNvSpPr>
            <a:spLocks noGrp="1"/>
          </p:cNvSpPr>
          <p:nvPr>
            <p:ph idx="1"/>
          </p:nvPr>
        </p:nvSpPr>
        <p:spPr>
          <a:xfrm>
            <a:off x="508000" y="2150538"/>
            <a:ext cx="11176000" cy="3965036"/>
          </a:xfrm>
        </p:spPr>
        <p:txBody>
          <a:bodyPr/>
          <a:lstStyle/>
          <a:p>
            <a:r>
              <a:rPr lang="en-GB" noProof="1">
                <a:latin typeface="Tahoma" panose="020B0604030504040204" pitchFamily="34" charset="0"/>
                <a:ea typeface="Tahoma" panose="020B0604030504040204" pitchFamily="34" charset="0"/>
                <a:cs typeface="Tahoma" panose="020B0604030504040204" pitchFamily="34" charset="0"/>
              </a:rPr>
              <a:t>Text-to-speech – automatic transcription of audio files – combined with LLMs for summaries &amp; analysis (on-prem)</a:t>
            </a:r>
          </a:p>
          <a:p>
            <a:r>
              <a:rPr lang="en-GB" noProof="1">
                <a:latin typeface="Tahoma" panose="020B0604030504040204" pitchFamily="34" charset="0"/>
                <a:ea typeface="Tahoma" panose="020B0604030504040204" pitchFamily="34" charset="0"/>
                <a:cs typeface="Tahoma" panose="020B0604030504040204" pitchFamily="34" charset="0"/>
              </a:rPr>
              <a:t>Classification of ICT crime cases in a PA (classic machine learning)</a:t>
            </a:r>
          </a:p>
          <a:p>
            <a:r>
              <a:rPr lang="en-GB" noProof="1">
                <a:latin typeface="Tahoma" panose="020B0604030504040204" pitchFamily="34" charset="0"/>
                <a:ea typeface="Tahoma" panose="020B0604030504040204" pitchFamily="34" charset="0"/>
                <a:cs typeface="Tahoma" panose="020B0604030504040204" pitchFamily="34" charset="0"/>
              </a:rPr>
              <a:t>App for semantic search and retrieval (RAG) from public document bases</a:t>
            </a:r>
          </a:p>
          <a:p>
            <a:r>
              <a:rPr lang="en-GB" noProof="1">
                <a:latin typeface="Tahoma" panose="020B0604030504040204" pitchFamily="34" charset="0"/>
                <a:ea typeface="Tahoma" panose="020B0604030504040204" pitchFamily="34" charset="0"/>
                <a:cs typeface="Tahoma" panose="020B0604030504040204" pitchFamily="34" charset="0"/>
              </a:rPr>
              <a:t>Named Entity Recognition (NER) for identifying PII</a:t>
            </a:r>
          </a:p>
          <a:p>
            <a:r>
              <a:rPr lang="en-GB" noProof="1">
                <a:latin typeface="Tahoma" panose="020B0604030504040204" pitchFamily="34" charset="0"/>
                <a:ea typeface="Tahoma" panose="020B0604030504040204" pitchFamily="34" charset="0"/>
                <a:cs typeface="Tahoma" panose="020B0604030504040204" pitchFamily="34" charset="0"/>
              </a:rPr>
              <a:t>Anomaly detection (financial audit)</a:t>
            </a:r>
          </a:p>
          <a:p>
            <a:endParaRPr lang="en-GB" noProof="1">
              <a:latin typeface="Tahoma" panose="020B0604030504040204" pitchFamily="34" charset="0"/>
              <a:ea typeface="Tahoma" panose="020B0604030504040204" pitchFamily="34" charset="0"/>
              <a:cs typeface="Tahoma" panose="020B0604030504040204" pitchFamily="34" charset="0"/>
            </a:endParaRPr>
          </a:p>
          <a:p>
            <a:r>
              <a:rPr lang="en-GB" noProof="1">
                <a:latin typeface="Tahoma" panose="020B0604030504040204" pitchFamily="34" charset="0"/>
                <a:ea typeface="Tahoma" panose="020B0604030504040204" pitchFamily="34" charset="0"/>
                <a:cs typeface="Tahoma" panose="020B0604030504040204" pitchFamily="34" charset="0"/>
              </a:rPr>
              <a:t>Question: What to buy &amp; what to build...</a:t>
            </a:r>
          </a:p>
        </p:txBody>
      </p:sp>
    </p:spTree>
    <p:extLst>
      <p:ext uri="{BB962C8B-B14F-4D97-AF65-F5344CB8AC3E}">
        <p14:creationId xmlns:p14="http://schemas.microsoft.com/office/powerpoint/2010/main" val="6422200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893C6A10-DB22-830A-C20E-E55CFEED93D6}"/>
              </a:ext>
            </a:extLst>
          </p:cNvPr>
          <p:cNvSpPr>
            <a:spLocks noGrp="1"/>
          </p:cNvSpPr>
          <p:nvPr>
            <p:ph type="body" sz="quarter" idx="21"/>
          </p:nvPr>
        </p:nvSpPr>
        <p:spPr>
          <a:xfrm>
            <a:off x="217620" y="1939401"/>
            <a:ext cx="5654675" cy="4058728"/>
          </a:xfrm>
        </p:spPr>
        <p:txBody>
          <a:bodyPr/>
          <a:lstStyle/>
          <a:p>
            <a:pPr marL="457200" indent="-457200">
              <a:buFont typeface="Arial" panose="020B0604020202020204" pitchFamily="34" charset="0"/>
              <a:buChar char="•"/>
            </a:pPr>
            <a:r>
              <a:rPr lang="en-GB" sz="1800" noProof="1">
                <a:latin typeface="Tahoma" panose="020B0604030504040204" pitchFamily="34" charset="0"/>
                <a:ea typeface="Tahoma" panose="020B0604030504040204" pitchFamily="34" charset="0"/>
                <a:cs typeface="Tahoma" panose="020B0604030504040204" pitchFamily="34" charset="0"/>
              </a:rPr>
              <a:t>The agents are here – and will crawl in everywhere ?​</a:t>
            </a:r>
          </a:p>
          <a:p>
            <a:pPr marL="457200" indent="-457200">
              <a:buFont typeface="Arial" panose="020B0604020202020204" pitchFamily="34" charset="0"/>
              <a:buChar char="•"/>
            </a:pPr>
            <a:r>
              <a:rPr lang="en-GB" sz="1800" noProof="1">
                <a:latin typeface="Tahoma" panose="020B0604030504040204" pitchFamily="34" charset="0"/>
                <a:ea typeface="Tahoma" panose="020B0604030504040204" pitchFamily="34" charset="0"/>
                <a:cs typeface="Tahoma" panose="020B0604030504040204" pitchFamily="34" charset="0"/>
              </a:rPr>
              <a:t>Regulation (AI Act etc.) – balance between protection of citizens and overcompliance ?</a:t>
            </a:r>
          </a:p>
          <a:p>
            <a:pPr marL="457200" indent="-457200">
              <a:buFont typeface="Arial" panose="020B0604020202020204" pitchFamily="34" charset="0"/>
              <a:buChar char="•"/>
            </a:pPr>
            <a:r>
              <a:rPr lang="en-GB" sz="1800" noProof="1">
                <a:latin typeface="Tahoma" panose="020B0604030504040204" pitchFamily="34" charset="0"/>
                <a:ea typeface="Tahoma" panose="020B0604030504040204" pitchFamily="34" charset="0"/>
                <a:cs typeface="Tahoma" panose="020B0604030504040204" pitchFamily="34" charset="0"/>
              </a:rPr>
              <a:t>"World Models" are coming? – models that understand the world around them?</a:t>
            </a:r>
          </a:p>
          <a:p>
            <a:pPr marL="457200" indent="-457200">
              <a:buFont typeface="Arial" panose="020B0604020202020204" pitchFamily="34" charset="0"/>
              <a:buChar char="•"/>
            </a:pPr>
            <a:r>
              <a:rPr lang="en-GB" sz="1800" noProof="1">
                <a:latin typeface="Tahoma" panose="020B0604030504040204" pitchFamily="34" charset="0"/>
                <a:ea typeface="Tahoma" panose="020B0604030504040204" pitchFamily="34" charset="0"/>
                <a:cs typeface="Tahoma" panose="020B0604030504040204" pitchFamily="34" charset="0"/>
              </a:rPr>
              <a:t>Quantum – Continued hype ?</a:t>
            </a:r>
          </a:p>
          <a:p>
            <a:pPr marL="457200" indent="-457200">
              <a:buFont typeface="Arial" panose="020B0604020202020204" pitchFamily="34" charset="0"/>
              <a:buChar char="•"/>
            </a:pPr>
            <a:r>
              <a:rPr lang="en-GB" sz="1800" noProof="1">
                <a:latin typeface="Tahoma" panose="020B0604030504040204" pitchFamily="34" charset="0"/>
                <a:ea typeface="Tahoma" panose="020B0604030504040204" pitchFamily="34" charset="0"/>
                <a:cs typeface="Tahoma" panose="020B0604030504040204" pitchFamily="34" charset="0"/>
              </a:rPr>
              <a:t>Will AI models become leverage in all areas where there is competition between countries ?</a:t>
            </a:r>
          </a:p>
          <a:p>
            <a:pPr marL="457200" indent="-457200">
              <a:buFont typeface="Arial" panose="020B0604020202020204" pitchFamily="34" charset="0"/>
              <a:buChar char="•"/>
            </a:pPr>
            <a:endParaRPr lang="en-GB" sz="1800" noProof="1">
              <a:latin typeface="Tahoma" panose="020B0604030504040204" pitchFamily="34" charset="0"/>
              <a:ea typeface="Tahoma" panose="020B0604030504040204" pitchFamily="34" charset="0"/>
              <a:cs typeface="Tahoma" panose="020B0604030504040204" pitchFamily="34" charset="0"/>
            </a:endParaRPr>
          </a:p>
          <a:p>
            <a:pPr marL="457200" indent="-457200">
              <a:buFont typeface="Arial" panose="020B0604020202020204" pitchFamily="34" charset="0"/>
              <a:buChar char="•"/>
            </a:pPr>
            <a:endParaRPr lang="en-GB" sz="1800" noProof="1">
              <a:latin typeface="Tahoma" panose="020B0604030504040204" pitchFamily="34" charset="0"/>
              <a:ea typeface="Tahoma" panose="020B0604030504040204" pitchFamily="34" charset="0"/>
              <a:cs typeface="Tahoma" panose="020B0604030504040204" pitchFamily="34" charset="0"/>
            </a:endParaRPr>
          </a:p>
          <a:p>
            <a:pPr marL="457200" indent="-457200">
              <a:buFont typeface="Arial" panose="020B0604020202020204" pitchFamily="34" charset="0"/>
              <a:buChar char="•"/>
            </a:pPr>
            <a:endParaRPr lang="en-GB" sz="1800" noProof="1">
              <a:latin typeface="Tahoma" panose="020B0604030504040204" pitchFamily="34" charset="0"/>
              <a:ea typeface="Tahoma" panose="020B0604030504040204" pitchFamily="34" charset="0"/>
              <a:cs typeface="Tahoma" panose="020B0604030504040204" pitchFamily="34" charset="0"/>
            </a:endParaRPr>
          </a:p>
          <a:p>
            <a:pPr marL="457200" indent="-457200">
              <a:buFont typeface="Arial" panose="020B0604020202020204" pitchFamily="34" charset="0"/>
              <a:buChar char="•"/>
            </a:pPr>
            <a:r>
              <a:rPr lang="en-GB" sz="1800" noProof="1">
                <a:latin typeface="Tahoma" panose="020B0604030504040204" pitchFamily="34" charset="0"/>
                <a:ea typeface="Tahoma" panose="020B0604030504040204" pitchFamily="34" charset="0"/>
                <a:cs typeface="Tahoma" panose="020B0604030504040204" pitchFamily="34" charset="0"/>
              </a:rPr>
              <a:t>Human added value that cannot or should not be automated?</a:t>
            </a:r>
          </a:p>
          <a:p>
            <a:pPr marL="457200" indent="-457200">
              <a:buFont typeface="Arial" panose="020B0604020202020204" pitchFamily="34" charset="0"/>
              <a:buChar char="•"/>
            </a:pPr>
            <a:endParaRPr lang="en-GB" sz="1800" noProof="1">
              <a:latin typeface="Tahoma" panose="020B0604030504040204" pitchFamily="34" charset="0"/>
              <a:ea typeface="Tahoma" panose="020B0604030504040204" pitchFamily="34" charset="0"/>
              <a:cs typeface="Tahoma" panose="020B0604030504040204" pitchFamily="34" charset="0"/>
            </a:endParaRPr>
          </a:p>
        </p:txBody>
      </p:sp>
      <p:pic>
        <p:nvPicPr>
          <p:cNvPr id="9" name="Bilde 8">
            <a:extLst>
              <a:ext uri="{FF2B5EF4-FFF2-40B4-BE49-F238E27FC236}">
                <a16:creationId xmlns:a16="http://schemas.microsoft.com/office/drawing/2014/main" id="{E633E70B-087F-1428-56DF-6F9D5EF4F488}"/>
              </a:ext>
            </a:extLst>
          </p:cNvPr>
          <p:cNvPicPr>
            <a:picLocks noChangeAspect="1"/>
          </p:cNvPicPr>
          <p:nvPr/>
        </p:nvPicPr>
        <p:blipFill>
          <a:blip r:embed="rId2"/>
          <a:stretch>
            <a:fillRect/>
          </a:stretch>
        </p:blipFill>
        <p:spPr>
          <a:xfrm>
            <a:off x="6096000" y="0"/>
            <a:ext cx="6028332" cy="6858000"/>
          </a:xfrm>
          <a:prstGeom prst="rect">
            <a:avLst/>
          </a:prstGeom>
          <a:ln>
            <a:solidFill>
              <a:schemeClr val="tx1"/>
            </a:solidFill>
          </a:ln>
        </p:spPr>
      </p:pic>
      <p:sp>
        <p:nvSpPr>
          <p:cNvPr id="10" name="Rektangel 9">
            <a:extLst>
              <a:ext uri="{FF2B5EF4-FFF2-40B4-BE49-F238E27FC236}">
                <a16:creationId xmlns:a16="http://schemas.microsoft.com/office/drawing/2014/main" id="{DAAC709C-5C96-F175-277E-44CD37C49B06}"/>
              </a:ext>
            </a:extLst>
          </p:cNvPr>
          <p:cNvSpPr/>
          <p:nvPr/>
        </p:nvSpPr>
        <p:spPr>
          <a:xfrm>
            <a:off x="6743700" y="5936048"/>
            <a:ext cx="4940300" cy="921951"/>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1"/>
          </a:p>
        </p:txBody>
      </p:sp>
      <p:sp>
        <p:nvSpPr>
          <p:cNvPr id="3" name="Tittel 2">
            <a:extLst>
              <a:ext uri="{FF2B5EF4-FFF2-40B4-BE49-F238E27FC236}">
                <a16:creationId xmlns:a16="http://schemas.microsoft.com/office/drawing/2014/main" id="{BB0F87B4-4AD6-6392-6AC7-6B9661BD9431}"/>
              </a:ext>
            </a:extLst>
          </p:cNvPr>
          <p:cNvSpPr>
            <a:spLocks noGrp="1"/>
          </p:cNvSpPr>
          <p:nvPr>
            <p:ph type="title"/>
          </p:nvPr>
        </p:nvSpPr>
        <p:spPr>
          <a:xfrm>
            <a:off x="465635" y="518584"/>
            <a:ext cx="5406660" cy="577081"/>
          </a:xfrm>
          <a:solidFill>
            <a:schemeClr val="bg1"/>
          </a:solidFill>
        </p:spPr>
        <p:txBody>
          <a:bodyPr/>
          <a:lstStyle/>
          <a:p>
            <a:r>
              <a:rPr lang="en-GB" sz="4000" noProof="1">
                <a:latin typeface="Tahoma" panose="020B0604030504040204" pitchFamily="34" charset="0"/>
                <a:ea typeface="Tahoma" panose="020B0604030504040204" pitchFamily="34" charset="0"/>
                <a:cs typeface="Tahoma" panose="020B0604030504040204" pitchFamily="34" charset="0"/>
              </a:rPr>
              <a:t>Moving towards 2030...</a:t>
            </a:r>
          </a:p>
        </p:txBody>
      </p:sp>
    </p:spTree>
    <p:extLst>
      <p:ext uri="{BB962C8B-B14F-4D97-AF65-F5344CB8AC3E}">
        <p14:creationId xmlns:p14="http://schemas.microsoft.com/office/powerpoint/2010/main" val="2801256295"/>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238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64C3C-0C39-DE18-70C5-E8E7C4C0DD73}"/>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DC42C002-F9D3-A5AB-C3F6-95E64FDF22F8}"/>
              </a:ext>
            </a:extLst>
          </p:cNvPr>
          <p:cNvSpPr>
            <a:spLocks noGrp="1"/>
          </p:cNvSpPr>
          <p:nvPr>
            <p:ph type="title"/>
          </p:nvPr>
        </p:nvSpPr>
        <p:spPr>
          <a:xfrm>
            <a:off x="838200" y="763732"/>
            <a:ext cx="10515600" cy="1514475"/>
          </a:xfrm>
          <a:noFill/>
        </p:spPr>
        <p:txBody>
          <a:bodyPr/>
          <a:lstStyle/>
          <a:p>
            <a:pPr defTabSz="914400" rtl="1" eaLnBrk="1" latinLnBrk="0" hangingPunct="1">
              <a:lnSpc>
                <a:spcPct val="90000"/>
              </a:lnSpc>
              <a:spcBef>
                <a:spcPct val="0"/>
              </a:spcBef>
              <a:buNone/>
            </a:pPr>
            <a: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t>AI is a good thing</a:t>
            </a:r>
          </a:p>
        </p:txBody>
      </p:sp>
      <p:sp>
        <p:nvSpPr>
          <p:cNvPr id="5" name="Text Placeholder 2">
            <a:extLst>
              <a:ext uri="{FF2B5EF4-FFF2-40B4-BE49-F238E27FC236}">
                <a16:creationId xmlns:a16="http://schemas.microsoft.com/office/drawing/2014/main" id="{8D5D3AEA-B447-29FC-4C2B-DBCC72215538}"/>
              </a:ext>
            </a:extLst>
          </p:cNvPr>
          <p:cNvSpPr txBox="1">
            <a:spLocks/>
          </p:cNvSpPr>
          <p:nvPr/>
        </p:nvSpPr>
        <p:spPr>
          <a:xfrm>
            <a:off x="975519" y="2127918"/>
            <a:ext cx="10240962" cy="3966349"/>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noProof="1">
                <a:latin typeface="Tahoma" panose="020B0604030504040204" pitchFamily="34" charset="0"/>
                <a:ea typeface="Tahoma" panose="020B0604030504040204" pitchFamily="34" charset="0"/>
                <a:cs typeface="Tahoma" panose="020B0604030504040204" pitchFamily="34" charset="0"/>
              </a:rPr>
              <a:t>Can contribute significantly to better productivity, efficiency &amp; effectiveness</a:t>
            </a:r>
          </a:p>
          <a:p>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AI is everywhere, but still we have just started</a:t>
            </a:r>
          </a:p>
          <a:p>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Cannot afford a public sector not using AI to a large degree</a:t>
            </a:r>
          </a:p>
          <a:p>
            <a:endParaRPr lang="en-GB" sz="2400" noProof="1">
              <a:latin typeface="Tahoma" panose="020B0604030504040204" pitchFamily="34" charset="0"/>
              <a:ea typeface="Tahoma" panose="020B0604030504040204" pitchFamily="34" charset="0"/>
              <a:cs typeface="Tahoma" panose="020B0604030504040204" pitchFamily="34" charset="0"/>
            </a:endParaRPr>
          </a:p>
          <a:p>
            <a:r>
              <a:rPr lang="en-GB" sz="2400" noProof="1">
                <a:latin typeface="Tahoma" panose="020B0604030504040204" pitchFamily="34" charset="0"/>
                <a:ea typeface="Tahoma" panose="020B0604030504040204" pitchFamily="34" charset="0"/>
                <a:cs typeface="Tahoma" panose="020B0604030504040204" pitchFamily="34" charset="0"/>
              </a:rPr>
              <a:t>»No to AI» is like saying «No to Internet» in 1992</a:t>
            </a:r>
          </a:p>
          <a:p>
            <a:endParaRPr lang="en-GB" sz="2400" noProof="1">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725690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39C97-431F-EA80-3691-C6F59FA660D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FE0A8CA9-D9A8-7F14-87BD-0F2BDED18C00}"/>
              </a:ext>
            </a:extLst>
          </p:cNvPr>
          <p:cNvSpPr>
            <a:spLocks noGrp="1"/>
          </p:cNvSpPr>
          <p:nvPr>
            <p:ph type="title"/>
          </p:nvPr>
        </p:nvSpPr>
        <p:spPr>
          <a:xfrm>
            <a:off x="831850" y="1149626"/>
            <a:ext cx="10515600" cy="1514475"/>
          </a:xfrm>
          <a:noFill/>
        </p:spPr>
        <p:txBody>
          <a:bodyPr/>
          <a:lstStyle/>
          <a:p>
            <a:pPr defTabSz="914400" rtl="1" eaLnBrk="1" latinLnBrk="0" hangingPunct="1">
              <a:lnSpc>
                <a:spcPct val="90000"/>
              </a:lnSpc>
              <a:spcBef>
                <a:spcPct val="0"/>
              </a:spcBef>
              <a:buNone/>
            </a:pPr>
            <a:r>
              <a:rPr lang="en-GB" sz="4000" noProof="1">
                <a:solidFill>
                  <a:srgbClr val="002060"/>
                </a:solidFill>
                <a:latin typeface="Tahoma" panose="020B0604030504040204" pitchFamily="34" charset="0"/>
                <a:ea typeface="Tahoma" panose="020B0604030504040204" pitchFamily="34" charset="0"/>
                <a:cs typeface="Tahoma" panose="020B0604030504040204" pitchFamily="34" charset="0"/>
              </a:rPr>
              <a:t>But…</a:t>
            </a:r>
          </a:p>
        </p:txBody>
      </p:sp>
      <p:sp>
        <p:nvSpPr>
          <p:cNvPr id="5" name="Text Placeholder 2">
            <a:extLst>
              <a:ext uri="{FF2B5EF4-FFF2-40B4-BE49-F238E27FC236}">
                <a16:creationId xmlns:a16="http://schemas.microsoft.com/office/drawing/2014/main" id="{3FA9B0BE-69AD-4FC6-BAD0-792FDD576429}"/>
              </a:ext>
            </a:extLst>
          </p:cNvPr>
          <p:cNvSpPr txBox="1">
            <a:spLocks/>
          </p:cNvSpPr>
          <p:nvPr/>
        </p:nvSpPr>
        <p:spPr>
          <a:xfrm>
            <a:off x="960438" y="2704304"/>
            <a:ext cx="10240962" cy="550863"/>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noProof="1">
                <a:latin typeface="Tahoma" panose="020B0604030504040204" pitchFamily="34" charset="0"/>
                <a:ea typeface="Tahoma" panose="020B0604030504040204" pitchFamily="34" charset="0"/>
                <a:cs typeface="Tahoma" panose="020B0604030504040204" pitchFamily="34" charset="0"/>
              </a:rPr>
              <a:t>Major rewards also mean high risk…</a:t>
            </a:r>
          </a:p>
        </p:txBody>
      </p:sp>
    </p:spTree>
    <p:extLst>
      <p:ext uri="{BB962C8B-B14F-4D97-AF65-F5344CB8AC3E}">
        <p14:creationId xmlns:p14="http://schemas.microsoft.com/office/powerpoint/2010/main" val="13161671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e 4"/>
          <p:cNvGrpSpPr/>
          <p:nvPr/>
        </p:nvGrpSpPr>
        <p:grpSpPr>
          <a:xfrm>
            <a:off x="0" y="0"/>
            <a:ext cx="7289961" cy="6858000"/>
            <a:chOff x="1078293" y="329298"/>
            <a:chExt cx="8724910" cy="7596126"/>
          </a:xfrm>
        </p:grpSpPr>
        <p:pic>
          <p:nvPicPr>
            <p:cNvPr id="2" name="Bilde 1"/>
            <p:cNvPicPr>
              <a:picLocks noChangeAspect="1"/>
            </p:cNvPicPr>
            <p:nvPr/>
          </p:nvPicPr>
          <p:blipFill>
            <a:blip r:embed="rId2"/>
            <a:stretch>
              <a:fillRect/>
            </a:stretch>
          </p:blipFill>
          <p:spPr>
            <a:xfrm>
              <a:off x="1078293" y="1729048"/>
              <a:ext cx="8724910" cy="6196376"/>
            </a:xfrm>
            <a:prstGeom prst="rect">
              <a:avLst/>
            </a:prstGeom>
            <a:ln>
              <a:solidFill>
                <a:srgbClr val="00B0F0"/>
              </a:solidFill>
            </a:ln>
          </p:spPr>
        </p:pic>
        <p:pic>
          <p:nvPicPr>
            <p:cNvPr id="4" name="Bilde 3"/>
            <p:cNvPicPr>
              <a:picLocks noChangeAspect="1"/>
            </p:cNvPicPr>
            <p:nvPr/>
          </p:nvPicPr>
          <p:blipFill>
            <a:blip r:embed="rId3"/>
            <a:stretch>
              <a:fillRect/>
            </a:stretch>
          </p:blipFill>
          <p:spPr>
            <a:xfrm>
              <a:off x="1078293" y="329298"/>
              <a:ext cx="8724910" cy="1325811"/>
            </a:xfrm>
            <a:prstGeom prst="rect">
              <a:avLst/>
            </a:prstGeom>
            <a:ln>
              <a:solidFill>
                <a:srgbClr val="00B0F0"/>
              </a:solidFill>
            </a:ln>
          </p:spPr>
        </p:pic>
      </p:grpSp>
      <p:pic>
        <p:nvPicPr>
          <p:cNvPr id="6" name="Bilde 5"/>
          <p:cNvPicPr>
            <a:picLocks noChangeAspect="1"/>
          </p:cNvPicPr>
          <p:nvPr/>
        </p:nvPicPr>
        <p:blipFill>
          <a:blip r:embed="rId4"/>
          <a:stretch>
            <a:fillRect/>
          </a:stretch>
        </p:blipFill>
        <p:spPr>
          <a:xfrm>
            <a:off x="7325202" y="0"/>
            <a:ext cx="2129549" cy="3252757"/>
          </a:xfrm>
          <a:prstGeom prst="rect">
            <a:avLst/>
          </a:prstGeom>
        </p:spPr>
      </p:pic>
      <p:pic>
        <p:nvPicPr>
          <p:cNvPr id="8" name="Bilde 7"/>
          <p:cNvPicPr>
            <a:picLocks noChangeAspect="1"/>
          </p:cNvPicPr>
          <p:nvPr/>
        </p:nvPicPr>
        <p:blipFill>
          <a:blip r:embed="rId5"/>
          <a:stretch>
            <a:fillRect/>
          </a:stretch>
        </p:blipFill>
        <p:spPr>
          <a:xfrm>
            <a:off x="9996461" y="-25006"/>
            <a:ext cx="1922001" cy="2948030"/>
          </a:xfrm>
          <a:prstGeom prst="rect">
            <a:avLst/>
          </a:prstGeom>
        </p:spPr>
      </p:pic>
      <p:pic>
        <p:nvPicPr>
          <p:cNvPr id="3" name="Bilde 2"/>
          <p:cNvPicPr>
            <a:picLocks noChangeAspect="1"/>
          </p:cNvPicPr>
          <p:nvPr/>
        </p:nvPicPr>
        <p:blipFill>
          <a:blip r:embed="rId6"/>
          <a:stretch>
            <a:fillRect/>
          </a:stretch>
        </p:blipFill>
        <p:spPr>
          <a:xfrm>
            <a:off x="7325202" y="3714422"/>
            <a:ext cx="4803068" cy="2651199"/>
          </a:xfrm>
          <a:prstGeom prst="rect">
            <a:avLst/>
          </a:prstGeom>
          <a:ln>
            <a:solidFill>
              <a:srgbClr val="FF0000"/>
            </a:solidFill>
          </a:ln>
        </p:spPr>
      </p:pic>
      <p:sp>
        <p:nvSpPr>
          <p:cNvPr id="10" name="Rektangel 9"/>
          <p:cNvSpPr/>
          <p:nvPr/>
        </p:nvSpPr>
        <p:spPr>
          <a:xfrm>
            <a:off x="7499769" y="6365621"/>
            <a:ext cx="3730725" cy="461665"/>
          </a:xfrm>
          <a:prstGeom prst="rect">
            <a:avLst/>
          </a:prstGeom>
        </p:spPr>
        <p:txBody>
          <a:bodyPr wrap="square">
            <a:spAutoFit/>
          </a:bodyPr>
          <a:lstStyle/>
          <a:p>
            <a:r>
              <a:rPr lang="en-GB" sz="1200" noProof="1">
                <a:hlinkClick r:id="rId7"/>
              </a:rPr>
              <a:t>https://www.ohchr.org/EN/NewsEvents/Pages/DisplayNews.aspx?NewsID=25156</a:t>
            </a:r>
            <a:r>
              <a:rPr lang="en-GB" sz="1200" noProof="1"/>
              <a:t> </a:t>
            </a:r>
          </a:p>
        </p:txBody>
      </p:sp>
      <p:pic>
        <p:nvPicPr>
          <p:cNvPr id="9" name="Bilde 8">
            <a:extLst>
              <a:ext uri="{FF2B5EF4-FFF2-40B4-BE49-F238E27FC236}">
                <a16:creationId xmlns:a16="http://schemas.microsoft.com/office/drawing/2014/main" id="{BFB52A9F-79A1-BC5C-6E13-8AF589721394}"/>
              </a:ext>
            </a:extLst>
          </p:cNvPr>
          <p:cNvPicPr>
            <a:picLocks noChangeAspect="1"/>
          </p:cNvPicPr>
          <p:nvPr/>
        </p:nvPicPr>
        <p:blipFill>
          <a:blip r:embed="rId8"/>
          <a:stretch>
            <a:fillRect/>
          </a:stretch>
        </p:blipFill>
        <p:spPr>
          <a:xfrm>
            <a:off x="9035934" y="2036772"/>
            <a:ext cx="3092335" cy="2572384"/>
          </a:xfrm>
          <a:prstGeom prst="rect">
            <a:avLst/>
          </a:prstGeom>
          <a:ln>
            <a:solidFill>
              <a:schemeClr val="accent1"/>
            </a:solidFill>
          </a:ln>
        </p:spPr>
      </p:pic>
      <p:sp>
        <p:nvSpPr>
          <p:cNvPr id="11" name="TekstSylinder 10">
            <a:extLst>
              <a:ext uri="{FF2B5EF4-FFF2-40B4-BE49-F238E27FC236}">
                <a16:creationId xmlns:a16="http://schemas.microsoft.com/office/drawing/2014/main" id="{75DDC4CB-9BE0-ACFD-AE6B-D95DC4C7D2C6}"/>
              </a:ext>
            </a:extLst>
          </p:cNvPr>
          <p:cNvSpPr txBox="1"/>
          <p:nvPr/>
        </p:nvSpPr>
        <p:spPr>
          <a:xfrm>
            <a:off x="8944494" y="4600674"/>
            <a:ext cx="3183775" cy="261610"/>
          </a:xfrm>
          <a:prstGeom prst="rect">
            <a:avLst/>
          </a:prstGeom>
          <a:noFill/>
        </p:spPr>
        <p:txBody>
          <a:bodyPr wrap="square" rtlCol="0">
            <a:spAutoFit/>
          </a:bodyPr>
          <a:lstStyle/>
          <a:p>
            <a:r>
              <a:rPr lang="en-GB" sz="1100" noProof="1">
                <a:latin typeface="Dubai" panose="020B0503030403030204" pitchFamily="34" charset="-78"/>
                <a:cs typeface="Dubai" panose="020B0503030403030204" pitchFamily="34" charset="-78"/>
                <a:hlinkClick r:id="rId9"/>
              </a:rPr>
              <a:t>https://intosaijournal.org</a:t>
            </a:r>
            <a:r>
              <a:rPr lang="en-GB" sz="1100" noProof="1">
                <a:latin typeface="Dubai" panose="020B0503030403030204" pitchFamily="34" charset="-78"/>
                <a:cs typeface="Dubai" panose="020B0503030403030204" pitchFamily="34" charset="-78"/>
              </a:rPr>
              <a:t> </a:t>
            </a:r>
          </a:p>
        </p:txBody>
      </p:sp>
    </p:spTree>
    <p:extLst>
      <p:ext uri="{BB962C8B-B14F-4D97-AF65-F5344CB8AC3E}">
        <p14:creationId xmlns:p14="http://schemas.microsoft.com/office/powerpoint/2010/main" val="13928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06346-DC03-D321-B3ED-2EAE4EFB1ECF}"/>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D769C4A3-812F-C71F-F12C-68D7A4158495}"/>
              </a:ext>
            </a:extLst>
          </p:cNvPr>
          <p:cNvSpPr>
            <a:spLocks noGrp="1"/>
          </p:cNvSpPr>
          <p:nvPr>
            <p:ph type="title"/>
          </p:nvPr>
        </p:nvSpPr>
        <p:spPr>
          <a:xfrm>
            <a:off x="838200" y="581355"/>
            <a:ext cx="10515600" cy="837116"/>
          </a:xfrm>
          <a:noFill/>
        </p:spPr>
        <p:txBody>
          <a:bodyPr>
            <a:noAutofit/>
          </a:bodyPr>
          <a:lstStyle/>
          <a:p>
            <a:pPr algn="ctr" defTabSz="914400" rtl="1" eaLnBrk="1" latinLnBrk="0" hangingPunct="1">
              <a:lnSpc>
                <a:spcPct val="90000"/>
              </a:lnSpc>
              <a:spcBef>
                <a:spcPct val="0"/>
              </a:spcBef>
              <a:buNone/>
            </a:pPr>
            <a:r>
              <a:rPr lang="en-GB" sz="2800" b="1" noProof="1">
                <a:solidFill>
                  <a:srgbClr val="002060"/>
                </a:solidFill>
                <a:latin typeface="Tahoma" panose="020B0604030504040204" pitchFamily="34" charset="0"/>
                <a:ea typeface="Tahoma" panose="020B0604030504040204" pitchFamily="34" charset="0"/>
                <a:cs typeface="Tahoma" panose="020B0604030504040204" pitchFamily="34" charset="0"/>
              </a:rPr>
              <a:t>Automated, dystopian case processing..</a:t>
            </a:r>
            <a:br>
              <a:rPr lang="en-GB" sz="2800" b="1" noProof="1">
                <a:solidFill>
                  <a:srgbClr val="002060"/>
                </a:solidFill>
                <a:latin typeface="Tahoma" panose="020B0604030504040204" pitchFamily="34" charset="0"/>
                <a:ea typeface="Tahoma" panose="020B0604030504040204" pitchFamily="34" charset="0"/>
                <a:cs typeface="Tahoma" panose="020B0604030504040204" pitchFamily="34" charset="0"/>
              </a:rPr>
            </a:br>
            <a:r>
              <a:rPr lang="en-GB" sz="1600" noProof="1">
                <a:solidFill>
                  <a:srgbClr val="002060"/>
                </a:solidFill>
                <a:latin typeface="Tahoma" panose="020B0604030504040204" pitchFamily="34" charset="0"/>
                <a:ea typeface="Tahoma" panose="020B0604030504040204" pitchFamily="34" charset="0"/>
                <a:cs typeface="Tahoma" panose="020B0604030504040204" pitchFamily="34" charset="0"/>
              </a:rPr>
              <a:t>(AI-powered Case Processing Support System, based on HAL9000)</a:t>
            </a:r>
          </a:p>
        </p:txBody>
      </p:sp>
      <p:pic>
        <p:nvPicPr>
          <p:cNvPr id="6" name="Bilde 5">
            <a:extLst>
              <a:ext uri="{FF2B5EF4-FFF2-40B4-BE49-F238E27FC236}">
                <a16:creationId xmlns:a16="http://schemas.microsoft.com/office/drawing/2014/main" id="{A0C7AD80-6FEF-9C43-491F-26DE13304374}"/>
              </a:ext>
            </a:extLst>
          </p:cNvPr>
          <p:cNvPicPr>
            <a:picLocks noChangeAspect="1"/>
          </p:cNvPicPr>
          <p:nvPr/>
        </p:nvPicPr>
        <p:blipFill>
          <a:blip r:embed="rId2"/>
          <a:stretch>
            <a:fillRect/>
          </a:stretch>
        </p:blipFill>
        <p:spPr>
          <a:xfrm>
            <a:off x="1044254" y="2081857"/>
            <a:ext cx="10103492" cy="3613974"/>
          </a:xfrm>
          <a:prstGeom prst="rect">
            <a:avLst/>
          </a:prstGeom>
        </p:spPr>
      </p:pic>
    </p:spTree>
    <p:extLst>
      <p:ext uri="{BB962C8B-B14F-4D97-AF65-F5344CB8AC3E}">
        <p14:creationId xmlns:p14="http://schemas.microsoft.com/office/powerpoint/2010/main" val="11462566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 name="Trygg og pålitelig bruk…"/>
          <p:cNvSpPr txBox="1">
            <a:spLocks noGrp="1"/>
          </p:cNvSpPr>
          <p:nvPr>
            <p:ph type="title"/>
          </p:nvPr>
        </p:nvSpPr>
        <p:spPr>
          <a:xfrm>
            <a:off x="508000" y="180381"/>
            <a:ext cx="11176000" cy="577081"/>
          </a:xfrm>
          <a:prstGeom prst="rect">
            <a:avLst/>
          </a:prstGeom>
        </p:spPr>
        <p:txBody>
          <a:bodyPr/>
          <a:lstStyle>
            <a:lvl1pPr defTabSz="2316479">
              <a:defRPr sz="9500" spc="-95"/>
            </a:lvl1pPr>
          </a:lstStyle>
          <a:p>
            <a:r>
              <a:rPr lang="en-GB" sz="4000" noProof="1">
                <a:latin typeface="Tahoma" panose="020B0604030504040204" pitchFamily="34" charset="0"/>
                <a:ea typeface="Tahoma" panose="020B0604030504040204" pitchFamily="34" charset="0"/>
                <a:cs typeface="Tahoma" panose="020B0604030504040204" pitchFamily="34" charset="0"/>
              </a:rPr>
              <a:t>Safe, secure &amp; trustworthy AI?</a:t>
            </a:r>
          </a:p>
        </p:txBody>
      </p:sp>
      <p:pic>
        <p:nvPicPr>
          <p:cNvPr id="227" name="Bilde" descr="Bilde"/>
          <p:cNvPicPr>
            <a:picLocks noChangeAspect="1"/>
          </p:cNvPicPr>
          <p:nvPr/>
        </p:nvPicPr>
        <p:blipFill>
          <a:blip r:embed="rId2"/>
          <a:stretch>
            <a:fillRect/>
          </a:stretch>
        </p:blipFill>
        <p:spPr>
          <a:xfrm>
            <a:off x="2152044" y="1110129"/>
            <a:ext cx="7738926" cy="5675670"/>
          </a:xfrm>
          <a:prstGeom prst="rect">
            <a:avLst/>
          </a:prstGeom>
          <a:ln w="12700">
            <a:miter lim="400000"/>
          </a:ln>
        </p:spPr>
      </p:pic>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tekst, skjermbilde, himmel, Nettsted&#10;&#10;KI-generert innhold kan være feil.">
            <a:extLst>
              <a:ext uri="{FF2B5EF4-FFF2-40B4-BE49-F238E27FC236}">
                <a16:creationId xmlns:a16="http://schemas.microsoft.com/office/drawing/2014/main" id="{54910209-7A62-0F47-A967-2184803227C2}"/>
              </a:ext>
            </a:extLst>
          </p:cNvPr>
          <p:cNvPicPr>
            <a:picLocks noChangeAspect="1"/>
          </p:cNvPicPr>
          <p:nvPr/>
        </p:nvPicPr>
        <p:blipFill>
          <a:blip r:embed="rId2">
            <a:extLst>
              <a:ext uri="{28A0092B-C50C-407E-A947-70E740481C1C}">
                <a14:useLocalDpi xmlns:a14="http://schemas.microsoft.com/office/drawing/2010/main" val="0"/>
              </a:ext>
            </a:extLst>
          </a:blip>
          <a:srcRect t="7647"/>
          <a:stretch>
            <a:fillRect/>
          </a:stretch>
        </p:blipFill>
        <p:spPr>
          <a:xfrm>
            <a:off x="975818" y="262218"/>
            <a:ext cx="3160690" cy="6333565"/>
          </a:xfrm>
          <a:prstGeom prst="rect">
            <a:avLst/>
          </a:prstGeom>
        </p:spPr>
      </p:pic>
      <p:pic>
        <p:nvPicPr>
          <p:cNvPr id="8" name="Bilde 7" descr="Et bilde som inneholder tekst, skjermbilde, Nettsted, Annonsering på nett&#10;&#10;KI-generert innhold kan være feil.">
            <a:extLst>
              <a:ext uri="{FF2B5EF4-FFF2-40B4-BE49-F238E27FC236}">
                <a16:creationId xmlns:a16="http://schemas.microsoft.com/office/drawing/2014/main" id="{ECDB194C-C47E-8FB3-13D0-DFA49F7C9403}"/>
              </a:ext>
            </a:extLst>
          </p:cNvPr>
          <p:cNvPicPr>
            <a:picLocks noChangeAspect="1"/>
          </p:cNvPicPr>
          <p:nvPr/>
        </p:nvPicPr>
        <p:blipFill>
          <a:blip r:embed="rId3">
            <a:extLst>
              <a:ext uri="{28A0092B-C50C-407E-A947-70E740481C1C}">
                <a14:useLocalDpi xmlns:a14="http://schemas.microsoft.com/office/drawing/2010/main" val="0"/>
              </a:ext>
            </a:extLst>
          </a:blip>
          <a:srcRect t="7647"/>
          <a:stretch>
            <a:fillRect/>
          </a:stretch>
        </p:blipFill>
        <p:spPr>
          <a:xfrm>
            <a:off x="4479479" y="262217"/>
            <a:ext cx="3160690" cy="6333566"/>
          </a:xfrm>
          <a:prstGeom prst="rect">
            <a:avLst/>
          </a:prstGeom>
        </p:spPr>
      </p:pic>
      <p:pic>
        <p:nvPicPr>
          <p:cNvPr id="3" name="Bilde 2">
            <a:extLst>
              <a:ext uri="{FF2B5EF4-FFF2-40B4-BE49-F238E27FC236}">
                <a16:creationId xmlns:a16="http://schemas.microsoft.com/office/drawing/2014/main" id="{E23D97A2-6F21-2F90-7B62-5E26DB64796C}"/>
              </a:ext>
            </a:extLst>
          </p:cNvPr>
          <p:cNvPicPr>
            <a:picLocks noChangeAspect="1"/>
          </p:cNvPicPr>
          <p:nvPr/>
        </p:nvPicPr>
        <p:blipFill>
          <a:blip r:embed="rId4"/>
          <a:stretch>
            <a:fillRect/>
          </a:stretch>
        </p:blipFill>
        <p:spPr>
          <a:xfrm>
            <a:off x="7983140" y="262217"/>
            <a:ext cx="3782520" cy="3051193"/>
          </a:xfrm>
          <a:prstGeom prst="rect">
            <a:avLst/>
          </a:prstGeom>
        </p:spPr>
      </p:pic>
      <p:sp>
        <p:nvSpPr>
          <p:cNvPr id="7" name="TekstSylinder 6">
            <a:extLst>
              <a:ext uri="{FF2B5EF4-FFF2-40B4-BE49-F238E27FC236}">
                <a16:creationId xmlns:a16="http://schemas.microsoft.com/office/drawing/2014/main" id="{2F8EF5C9-5AB9-1092-682E-3060A083736D}"/>
              </a:ext>
            </a:extLst>
          </p:cNvPr>
          <p:cNvSpPr txBox="1"/>
          <p:nvPr/>
        </p:nvSpPr>
        <p:spPr>
          <a:xfrm>
            <a:off x="7983140" y="3344536"/>
            <a:ext cx="4075770" cy="40011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r>
              <a:rPr lang="en-GB" sz="1000" noProof="1">
                <a:hlinkClick r:id="rId5"/>
              </a:rPr>
              <a:t>https://www.npr.org/2025/07/09/nx-s1-5462609/grok-elon-musk-antisemitic-racist-content</a:t>
            </a:r>
            <a:r>
              <a:rPr lang="en-GB" sz="1000" noProof="1"/>
              <a:t> </a:t>
            </a:r>
          </a:p>
        </p:txBody>
      </p:sp>
    </p:spTree>
    <p:extLst>
      <p:ext uri="{BB962C8B-B14F-4D97-AF65-F5344CB8AC3E}">
        <p14:creationId xmlns:p14="http://schemas.microsoft.com/office/powerpoint/2010/main" val="4066623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F77D727-ADB0-05E5-54F7-D83D594DEEC9}"/>
              </a:ext>
            </a:extLst>
          </p:cNvPr>
          <p:cNvSpPr>
            <a:spLocks noGrp="1"/>
          </p:cNvSpPr>
          <p:nvPr>
            <p:ph type="title"/>
          </p:nvPr>
        </p:nvSpPr>
        <p:spPr>
          <a:xfrm>
            <a:off x="384175" y="660083"/>
            <a:ext cx="4280104" cy="1479109"/>
          </a:xfrm>
        </p:spPr>
        <p:txBody>
          <a:bodyPr/>
          <a:lstStyle/>
          <a:p>
            <a:r>
              <a:rPr lang="en-GB" sz="2800" noProof="1">
                <a:latin typeface="Tahoma" panose="020B0604030504040204" pitchFamily="34" charset="0"/>
                <a:ea typeface="Tahoma" panose="020B0604030504040204" pitchFamily="34" charset="0"/>
                <a:cs typeface="Tahoma" panose="020B0604030504040204" pitchFamily="34" charset="0"/>
              </a:rPr>
              <a:t>Have we (and the government) gotten AI FOMO?</a:t>
            </a:r>
          </a:p>
        </p:txBody>
      </p:sp>
      <p:sp>
        <p:nvSpPr>
          <p:cNvPr id="6" name="Plassholder for tekst 5">
            <a:extLst>
              <a:ext uri="{FF2B5EF4-FFF2-40B4-BE49-F238E27FC236}">
                <a16:creationId xmlns:a16="http://schemas.microsoft.com/office/drawing/2014/main" id="{DF6A2357-5F17-5E01-2F06-2FD1FA60BB67}"/>
              </a:ext>
            </a:extLst>
          </p:cNvPr>
          <p:cNvSpPr>
            <a:spLocks noGrp="1"/>
          </p:cNvSpPr>
          <p:nvPr>
            <p:ph type="body" sz="quarter" idx="14"/>
          </p:nvPr>
        </p:nvSpPr>
        <p:spPr>
          <a:xfrm>
            <a:off x="479110" y="2776756"/>
            <a:ext cx="4090233" cy="2701255"/>
          </a:xfrm>
        </p:spPr>
        <p:txBody>
          <a:bodyPr/>
          <a:lstStyle/>
          <a:p>
            <a:r>
              <a:rPr lang="en-GB" sz="1600" noProof="1">
                <a:latin typeface="Tahoma" panose="020B0604030504040204" pitchFamily="34" charset="0"/>
                <a:ea typeface="Tahoma" panose="020B0604030504040204" pitchFamily="34" charset="0"/>
                <a:cs typeface="Tahoma" panose="020B0604030504040204" pitchFamily="34" charset="0"/>
              </a:rPr>
              <a:t>In 2026, "everyone" wants artificial intelligence</a:t>
            </a:r>
          </a:p>
          <a:p>
            <a:endParaRPr lang="en-GB" sz="1600" noProof="1">
              <a:latin typeface="Tahoma" panose="020B0604030504040204" pitchFamily="34" charset="0"/>
              <a:ea typeface="Tahoma" panose="020B0604030504040204" pitchFamily="34" charset="0"/>
              <a:cs typeface="Tahoma" panose="020B0604030504040204" pitchFamily="34" charset="0"/>
            </a:endParaRPr>
          </a:p>
          <a:p>
            <a:r>
              <a:rPr lang="en-GB" sz="1600" noProof="1">
                <a:latin typeface="Tahoma" panose="020B0604030504040204" pitchFamily="34" charset="0"/>
                <a:ea typeface="Tahoma" panose="020B0604030504040204" pitchFamily="34" charset="0"/>
                <a:cs typeface="Tahoma" panose="020B0604030504040204" pitchFamily="34" charset="0"/>
              </a:rPr>
              <a:t>But does the use of artificial intelligence actually lead to higher productivity, or are we in a bubble that is about to burst?</a:t>
            </a:r>
          </a:p>
          <a:p>
            <a:endParaRPr lang="en-GB" sz="1600" noProof="1">
              <a:latin typeface="Tahoma" panose="020B0604030504040204" pitchFamily="34" charset="0"/>
              <a:ea typeface="Tahoma" panose="020B0604030504040204" pitchFamily="34" charset="0"/>
              <a:cs typeface="Tahoma" panose="020B0604030504040204" pitchFamily="34" charset="0"/>
            </a:endParaRPr>
          </a:p>
          <a:p>
            <a:r>
              <a:rPr lang="en-GB" sz="1600" noProof="1">
                <a:latin typeface="Tahoma" panose="020B0604030504040204" pitchFamily="34" charset="0"/>
                <a:ea typeface="Tahoma" panose="020B0604030504040204" pitchFamily="34" charset="0"/>
                <a:cs typeface="Tahoma" panose="020B0604030504040204" pitchFamily="34" charset="0"/>
              </a:rPr>
              <a:t>Are we forgetting to ask </a:t>
            </a:r>
            <a:r>
              <a:rPr lang="en-GB" sz="1600" b="1" noProof="1">
                <a:latin typeface="Tahoma" panose="020B0604030504040204" pitchFamily="34" charset="0"/>
                <a:ea typeface="Tahoma" panose="020B0604030504040204" pitchFamily="34" charset="0"/>
                <a:cs typeface="Tahoma" panose="020B0604030504040204" pitchFamily="34" charset="0"/>
              </a:rPr>
              <a:t>why</a:t>
            </a:r>
            <a:r>
              <a:rPr lang="en-GB" sz="1600" noProof="1">
                <a:latin typeface="Tahoma" panose="020B0604030504040204" pitchFamily="34" charset="0"/>
                <a:ea typeface="Tahoma" panose="020B0604030504040204" pitchFamily="34" charset="0"/>
                <a:cs typeface="Tahoma" panose="020B0604030504040204" pitchFamily="34" charset="0"/>
              </a:rPr>
              <a:t> we need AI?</a:t>
            </a:r>
          </a:p>
        </p:txBody>
      </p:sp>
      <p:pic>
        <p:nvPicPr>
          <p:cNvPr id="3" name="Plassholder for innhold 3">
            <a:extLst>
              <a:ext uri="{FF2B5EF4-FFF2-40B4-BE49-F238E27FC236}">
                <a16:creationId xmlns:a16="http://schemas.microsoft.com/office/drawing/2014/main" id="{216C8B54-20E9-36C6-8542-5BBDAD6188C2}"/>
              </a:ext>
            </a:extLst>
          </p:cNvPr>
          <p:cNvPicPr>
            <a:picLocks noChangeAspect="1"/>
          </p:cNvPicPr>
          <p:nvPr/>
        </p:nvPicPr>
        <p:blipFill>
          <a:blip r:embed="rId2"/>
          <a:srcRect t="4791" b="39126"/>
          <a:stretch>
            <a:fillRect/>
          </a:stretch>
        </p:blipFill>
        <p:spPr>
          <a:xfrm>
            <a:off x="4842539" y="3757331"/>
            <a:ext cx="7266251" cy="3005419"/>
          </a:xfrm>
          <a:prstGeom prst="rect">
            <a:avLst/>
          </a:prstGeom>
          <a:ln>
            <a:solidFill>
              <a:schemeClr val="accent1"/>
            </a:solidFill>
          </a:ln>
        </p:spPr>
      </p:pic>
      <p:pic>
        <p:nvPicPr>
          <p:cNvPr id="4" name="Bilde 3">
            <a:extLst>
              <a:ext uri="{FF2B5EF4-FFF2-40B4-BE49-F238E27FC236}">
                <a16:creationId xmlns:a16="http://schemas.microsoft.com/office/drawing/2014/main" id="{DEDE65AE-7F38-BC1A-7B15-DBB0AC6B79A7}"/>
              </a:ext>
            </a:extLst>
          </p:cNvPr>
          <p:cNvPicPr>
            <a:picLocks noChangeAspect="1"/>
          </p:cNvPicPr>
          <p:nvPr/>
        </p:nvPicPr>
        <p:blipFill>
          <a:blip r:embed="rId3"/>
          <a:stretch>
            <a:fillRect/>
          </a:stretch>
        </p:blipFill>
        <p:spPr>
          <a:xfrm>
            <a:off x="4842539" y="231921"/>
            <a:ext cx="7264400" cy="3322965"/>
          </a:xfrm>
          <a:prstGeom prst="rect">
            <a:avLst/>
          </a:prstGeom>
          <a:ln>
            <a:solidFill>
              <a:schemeClr val="accent1"/>
            </a:solidFill>
          </a:ln>
        </p:spPr>
      </p:pic>
    </p:spTree>
    <p:extLst>
      <p:ext uri="{BB962C8B-B14F-4D97-AF65-F5344CB8AC3E}">
        <p14:creationId xmlns:p14="http://schemas.microsoft.com/office/powerpoint/2010/main" val="2124549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HZshcM8SVSmLj4Erl2Z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Oh8tv5.SRm51pN4DXwS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nholdsider">
  <a:themeElements>
    <a:clrScheme name="Riksrevisjonen 2025">
      <a:dk1>
        <a:srgbClr val="000000"/>
      </a:dk1>
      <a:lt1>
        <a:srgbClr val="FFFFFF"/>
      </a:lt1>
      <a:dk2>
        <a:srgbClr val="003297"/>
      </a:dk2>
      <a:lt2>
        <a:srgbClr val="FFFAEA"/>
      </a:lt2>
      <a:accent1>
        <a:srgbClr val="A40000"/>
      </a:accent1>
      <a:accent2>
        <a:srgbClr val="6C93E1"/>
      </a:accent2>
      <a:accent3>
        <a:srgbClr val="FF7F00"/>
      </a:accent3>
      <a:accent4>
        <a:srgbClr val="193271"/>
      </a:accent4>
      <a:accent5>
        <a:srgbClr val="E20029"/>
      </a:accent5>
      <a:accent6>
        <a:srgbClr val="00BA89"/>
      </a:accent6>
      <a:hlink>
        <a:srgbClr val="003297"/>
      </a:hlink>
      <a:folHlink>
        <a:srgbClr val="919191"/>
      </a:folHlink>
    </a:clrScheme>
    <a:fontScheme name="Avenir Next LT Pro + Demi">
      <a:majorFont>
        <a:latin typeface="Avenir Next LT Pro Demi"/>
        <a:ea typeface=""/>
        <a:cs typeface=""/>
      </a:majorFont>
      <a:minorFont>
        <a:latin typeface="Avenir Next LT Pro"/>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Smalt">
      <a:srgbClr val="003297"/>
    </a:custClr>
    <a:custClr name="Bright Red">
      <a:srgbClr val="A40000"/>
    </a:custClr>
    <a:custClr name="Monza">
      <a:srgbClr val="E20029"/>
    </a:custClr>
    <a:custClr name="Zircon">
      <a:srgbClr val="D1E1FF"/>
    </a:custClr>
    <a:custClr name="Lavender Blush">
      <a:srgbClr val="FFF5F7"/>
    </a:custClr>
    <a:custClr name="Biscay">
      <a:srgbClr val="193271"/>
    </a:custClr>
    <a:custClr name="Early Dawn">
      <a:srgbClr val="FFFAEA"/>
    </a:custClr>
    <a:custClr name="Blank">
      <a:srgbClr val="FFFFFF"/>
    </a:custClr>
    <a:custClr name="Blank">
      <a:srgbClr val="FFFFFF"/>
    </a:custClr>
    <a:custClr name="Alabaster">
      <a:srgbClr val="FCFCFC"/>
    </a:custClr>
    <a:custClr name="Bright Red">
      <a:srgbClr val="A40000"/>
    </a:custClr>
    <a:custClr name="Flush Orange">
      <a:srgbClr val="FF7F00"/>
    </a:custClr>
    <a:custClr name="Supernova">
      <a:srgbClr val="FFC200"/>
    </a:custClr>
    <a:custClr name="Cornflower Blue">
      <a:srgbClr val="81A0F9"/>
    </a:custClr>
    <a:custClr name="Biscay">
      <a:srgbClr val="193271"/>
    </a:custClr>
    <a:custClr name="Caribbean Green">
      <a:srgbClr val="00BA89"/>
    </a:custClr>
    <a:custClr name="Jewel">
      <a:srgbClr val="178C49"/>
    </a:custClr>
    <a:custClr name="Blank">
      <a:srgbClr val="FFFFFF"/>
    </a:custClr>
    <a:custClr name="Blank">
      <a:srgbClr val="FFFFFF"/>
    </a:custClr>
    <a:custClr name="Pigeon Post">
      <a:srgbClr val="BCC7DB"/>
    </a:custClr>
    <a:custClr name="DV Clairvoyant">
      <a:srgbClr val="730F7A"/>
    </a:custClr>
    <a:custClr name="DV Supernova">
      <a:srgbClr val="FFC200"/>
    </a:custClr>
    <a:custClr name="DV Deep Sea Green">
      <a:srgbClr val="0E6669"/>
    </a:custClr>
    <a:custClr name="DV Black">
      <a:srgbClr val="000000"/>
    </a:custClr>
    <a:custClr name="Blank">
      <a:srgbClr val="FFFFFF"/>
    </a:custClr>
    <a:custClr name="Blank">
      <a:srgbClr val="FFFFFF"/>
    </a:custClr>
    <a:custClr name="Blank">
      <a:srgbClr val="FFFFFF"/>
    </a:custClr>
    <a:custClr name="Blank">
      <a:srgbClr val="FFFFFF"/>
    </a:custClr>
    <a:custClr name="Blank">
      <a:srgbClr val="FFFFFF"/>
    </a:custClr>
    <a:custClr name="Cadet Blue">
      <a:srgbClr val="94A2BB"/>
    </a:custClr>
    <a:custClr>
      <a:srgbClr val="A40000"/>
    </a:custClr>
    <a:custClr>
      <a:srgbClr val="C1352A"/>
    </a:custClr>
    <a:custClr>
      <a:srgbClr val="D9574F"/>
    </a:custClr>
    <a:custClr>
      <a:srgbClr val="EA7874"/>
    </a:custClr>
    <a:custClr>
      <a:srgbClr val="F59898"/>
    </a:custClr>
    <a:custClr>
      <a:srgbClr val="FCB7B9"/>
    </a:custClr>
    <a:custClr>
      <a:srgbClr val="FFD6D8"/>
    </a:custClr>
    <a:custClr name="Blank">
      <a:srgbClr val="FFFFFF"/>
    </a:custClr>
    <a:custClr name="Blank">
      <a:srgbClr val="FFFFFF"/>
    </a:custClr>
    <a:custClr name="Shark">
      <a:srgbClr val="1A1D25"/>
    </a:custClr>
    <a:custClr>
      <a:srgbClr val="001B61"/>
    </a:custClr>
    <a:custClr>
      <a:srgbClr val="2F4784"/>
    </a:custClr>
    <a:custClr>
      <a:srgbClr val="546BA0"/>
    </a:custClr>
    <a:custClr>
      <a:srgbClr val="768BBB"/>
    </a:custClr>
    <a:custClr>
      <a:srgbClr val="96A9D2"/>
    </a:custClr>
    <a:custClr>
      <a:srgbClr val="B4C6E9"/>
    </a:custClr>
    <a:custClr>
      <a:srgbClr val="D1E1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idlertidig PPT mal mai 2025.pptx" id="{F2A27878-44D4-409C-9CCA-8FE02944E4BA}" vid="{3A4F450F-A7C7-4B60-B923-AAD58A30867D}"/>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Kapittelskiller">
  <a:themeElements>
    <a:clrScheme name="Riksrevisjonen 2025">
      <a:dk1>
        <a:srgbClr val="000000"/>
      </a:dk1>
      <a:lt1>
        <a:srgbClr val="FFFFFF"/>
      </a:lt1>
      <a:dk2>
        <a:srgbClr val="003297"/>
      </a:dk2>
      <a:lt2>
        <a:srgbClr val="FFFAEA"/>
      </a:lt2>
      <a:accent1>
        <a:srgbClr val="A40000"/>
      </a:accent1>
      <a:accent2>
        <a:srgbClr val="6C93E1"/>
      </a:accent2>
      <a:accent3>
        <a:srgbClr val="FF7F00"/>
      </a:accent3>
      <a:accent4>
        <a:srgbClr val="193271"/>
      </a:accent4>
      <a:accent5>
        <a:srgbClr val="E20029"/>
      </a:accent5>
      <a:accent6>
        <a:srgbClr val="00BA89"/>
      </a:accent6>
      <a:hlink>
        <a:srgbClr val="003297"/>
      </a:hlink>
      <a:folHlink>
        <a:srgbClr val="919191"/>
      </a:folHlink>
    </a:clrScheme>
    <a:fontScheme name="Avenir Next LT Pro + Demi">
      <a:majorFont>
        <a:latin typeface="Avenir Next LT Pro Demi"/>
        <a:ea typeface=""/>
        <a:cs typeface=""/>
      </a:majorFont>
      <a:minorFont>
        <a:latin typeface="Avenir Next LT Pro"/>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Smalt">
      <a:srgbClr val="003297"/>
    </a:custClr>
    <a:custClr name="Bright Red">
      <a:srgbClr val="A40000"/>
    </a:custClr>
    <a:custClr name="Monza">
      <a:srgbClr val="E20029"/>
    </a:custClr>
    <a:custClr name="Zircon">
      <a:srgbClr val="D1E1FF"/>
    </a:custClr>
    <a:custClr name="Lavender Blush">
      <a:srgbClr val="FFF5F7"/>
    </a:custClr>
    <a:custClr name="Biscay">
      <a:srgbClr val="193271"/>
    </a:custClr>
    <a:custClr name="Early Dawn">
      <a:srgbClr val="FFFAEA"/>
    </a:custClr>
    <a:custClr name="Blank">
      <a:srgbClr val="FFFFFF"/>
    </a:custClr>
    <a:custClr name="Blank">
      <a:srgbClr val="FFFFFF"/>
    </a:custClr>
    <a:custClr name="Alabaster">
      <a:srgbClr val="FCFCFC"/>
    </a:custClr>
    <a:custClr name="Bright Red">
      <a:srgbClr val="A40000"/>
    </a:custClr>
    <a:custClr name="Flush Orange">
      <a:srgbClr val="FF7F00"/>
    </a:custClr>
    <a:custClr name="Supernova">
      <a:srgbClr val="FFC200"/>
    </a:custClr>
    <a:custClr name="Cornflower Blue">
      <a:srgbClr val="81A0F9"/>
    </a:custClr>
    <a:custClr name="Biscay">
      <a:srgbClr val="193271"/>
    </a:custClr>
    <a:custClr name="Caribbean Green">
      <a:srgbClr val="00BA89"/>
    </a:custClr>
    <a:custClr name="Jewel">
      <a:srgbClr val="178C49"/>
    </a:custClr>
    <a:custClr name="Blank">
      <a:srgbClr val="FFFFFF"/>
    </a:custClr>
    <a:custClr name="Blank">
      <a:srgbClr val="FFFFFF"/>
    </a:custClr>
    <a:custClr name="Pigeon Post">
      <a:srgbClr val="BCC7DB"/>
    </a:custClr>
    <a:custClr name="DV Clairvoyant">
      <a:srgbClr val="730F7A"/>
    </a:custClr>
    <a:custClr name="DV Supernova">
      <a:srgbClr val="FFC200"/>
    </a:custClr>
    <a:custClr name="DV Deep Sea Green">
      <a:srgbClr val="0E6669"/>
    </a:custClr>
    <a:custClr name="DV Black">
      <a:srgbClr val="000000"/>
    </a:custClr>
    <a:custClr name="Blank">
      <a:srgbClr val="FFFFFF"/>
    </a:custClr>
    <a:custClr name="Blank">
      <a:srgbClr val="FFFFFF"/>
    </a:custClr>
    <a:custClr name="Blank">
      <a:srgbClr val="FFFFFF"/>
    </a:custClr>
    <a:custClr name="Blank">
      <a:srgbClr val="FFFFFF"/>
    </a:custClr>
    <a:custClr name="Blank">
      <a:srgbClr val="FFFFFF"/>
    </a:custClr>
    <a:custClr name="Cadet Blue">
      <a:srgbClr val="94A2BB"/>
    </a:custClr>
    <a:custClr>
      <a:srgbClr val="A40000"/>
    </a:custClr>
    <a:custClr>
      <a:srgbClr val="C1352A"/>
    </a:custClr>
    <a:custClr>
      <a:srgbClr val="D9574F"/>
    </a:custClr>
    <a:custClr>
      <a:srgbClr val="EA7874"/>
    </a:custClr>
    <a:custClr>
      <a:srgbClr val="F59898"/>
    </a:custClr>
    <a:custClr>
      <a:srgbClr val="FCB7B9"/>
    </a:custClr>
    <a:custClr>
      <a:srgbClr val="FFD6D8"/>
    </a:custClr>
    <a:custClr name="Blank">
      <a:srgbClr val="FFFFFF"/>
    </a:custClr>
    <a:custClr name="Blank">
      <a:srgbClr val="FFFFFF"/>
    </a:custClr>
    <a:custClr name="Shark">
      <a:srgbClr val="1A1D25"/>
    </a:custClr>
    <a:custClr>
      <a:srgbClr val="001B61"/>
    </a:custClr>
    <a:custClr>
      <a:srgbClr val="2F4784"/>
    </a:custClr>
    <a:custClr>
      <a:srgbClr val="546BA0"/>
    </a:custClr>
    <a:custClr>
      <a:srgbClr val="768BBB"/>
    </a:custClr>
    <a:custClr>
      <a:srgbClr val="96A9D2"/>
    </a:custClr>
    <a:custClr>
      <a:srgbClr val="B4C6E9"/>
    </a:custClr>
    <a:custClr>
      <a:srgbClr val="D1E1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idlertidig PPT mal mai 2025.pptx" id="{F2A27878-44D4-409C-9CCA-8FE02944E4BA}" vid="{1B33D1D6-349D-4259-A21A-A530D49C1B9B}"/>
    </a:ext>
  </a:extLst>
</a:theme>
</file>

<file path=ppt/theme/theme3.xml><?xml version="1.0" encoding="utf-8"?>
<a:theme xmlns:a="http://schemas.openxmlformats.org/drawingml/2006/main" name="Forsider / Avslutning">
  <a:themeElements>
    <a:clrScheme name="Riksrevisjonen 2025">
      <a:dk1>
        <a:srgbClr val="000000"/>
      </a:dk1>
      <a:lt1>
        <a:srgbClr val="FFFFFF"/>
      </a:lt1>
      <a:dk2>
        <a:srgbClr val="003297"/>
      </a:dk2>
      <a:lt2>
        <a:srgbClr val="FFFAEA"/>
      </a:lt2>
      <a:accent1>
        <a:srgbClr val="A40000"/>
      </a:accent1>
      <a:accent2>
        <a:srgbClr val="6C93E1"/>
      </a:accent2>
      <a:accent3>
        <a:srgbClr val="FF7F00"/>
      </a:accent3>
      <a:accent4>
        <a:srgbClr val="193271"/>
      </a:accent4>
      <a:accent5>
        <a:srgbClr val="E20029"/>
      </a:accent5>
      <a:accent6>
        <a:srgbClr val="00BA89"/>
      </a:accent6>
      <a:hlink>
        <a:srgbClr val="003297"/>
      </a:hlink>
      <a:folHlink>
        <a:srgbClr val="919191"/>
      </a:folHlink>
    </a:clrScheme>
    <a:fontScheme name="Avenir Next LT Pro + Demi">
      <a:majorFont>
        <a:latin typeface="Avenir Next LT Pro Demi"/>
        <a:ea typeface=""/>
        <a:cs typeface=""/>
      </a:majorFont>
      <a:minorFont>
        <a:latin typeface="Avenir Next LT Pro"/>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Smalt">
      <a:srgbClr val="003297"/>
    </a:custClr>
    <a:custClr name="Bright Red">
      <a:srgbClr val="A40000"/>
    </a:custClr>
    <a:custClr name="Monza">
      <a:srgbClr val="E20029"/>
    </a:custClr>
    <a:custClr name="Zircon">
      <a:srgbClr val="D1E1FF"/>
    </a:custClr>
    <a:custClr name="Lavender Blush">
      <a:srgbClr val="FFF5F7"/>
    </a:custClr>
    <a:custClr name="Biscay">
      <a:srgbClr val="193271"/>
    </a:custClr>
    <a:custClr name="Early Dawn">
      <a:srgbClr val="FFFAEA"/>
    </a:custClr>
    <a:custClr name="Blank">
      <a:srgbClr val="FFFFFF"/>
    </a:custClr>
    <a:custClr name="Blank">
      <a:srgbClr val="FFFFFF"/>
    </a:custClr>
    <a:custClr name="Alabaster">
      <a:srgbClr val="FCFCFC"/>
    </a:custClr>
    <a:custClr name="Bright Red">
      <a:srgbClr val="A40000"/>
    </a:custClr>
    <a:custClr name="Flush Orange">
      <a:srgbClr val="FF7F00"/>
    </a:custClr>
    <a:custClr name="Supernova">
      <a:srgbClr val="FFC200"/>
    </a:custClr>
    <a:custClr name="Cornflower Blue">
      <a:srgbClr val="81A0F9"/>
    </a:custClr>
    <a:custClr name="Biscay">
      <a:srgbClr val="193271"/>
    </a:custClr>
    <a:custClr name="Caribbean Green">
      <a:srgbClr val="00BA89"/>
    </a:custClr>
    <a:custClr name="Jewel">
      <a:srgbClr val="178C49"/>
    </a:custClr>
    <a:custClr name="Blank">
      <a:srgbClr val="FFFFFF"/>
    </a:custClr>
    <a:custClr name="Blank">
      <a:srgbClr val="FFFFFF"/>
    </a:custClr>
    <a:custClr name="Pigeon Post">
      <a:srgbClr val="BCC7DB"/>
    </a:custClr>
    <a:custClr name="DV Clairvoyant">
      <a:srgbClr val="730F7A"/>
    </a:custClr>
    <a:custClr name="DV Supernova">
      <a:srgbClr val="FFC200"/>
    </a:custClr>
    <a:custClr name="DV Deep Sea Green">
      <a:srgbClr val="0E6669"/>
    </a:custClr>
    <a:custClr name="DV Black">
      <a:srgbClr val="000000"/>
    </a:custClr>
    <a:custClr name="Blank">
      <a:srgbClr val="FFFFFF"/>
    </a:custClr>
    <a:custClr name="Blank">
      <a:srgbClr val="FFFFFF"/>
    </a:custClr>
    <a:custClr name="Blank">
      <a:srgbClr val="FFFFFF"/>
    </a:custClr>
    <a:custClr name="Blank">
      <a:srgbClr val="FFFFFF"/>
    </a:custClr>
    <a:custClr name="Blank">
      <a:srgbClr val="FFFFFF"/>
    </a:custClr>
    <a:custClr name="Cadet Blue">
      <a:srgbClr val="94A2BB"/>
    </a:custClr>
    <a:custClr>
      <a:srgbClr val="A40000"/>
    </a:custClr>
    <a:custClr>
      <a:srgbClr val="C1352A"/>
    </a:custClr>
    <a:custClr>
      <a:srgbClr val="D9574F"/>
    </a:custClr>
    <a:custClr>
      <a:srgbClr val="EA7874"/>
    </a:custClr>
    <a:custClr>
      <a:srgbClr val="F59898"/>
    </a:custClr>
    <a:custClr>
      <a:srgbClr val="FCB7B9"/>
    </a:custClr>
    <a:custClr>
      <a:srgbClr val="FFD6D8"/>
    </a:custClr>
    <a:custClr name="Blank">
      <a:srgbClr val="FFFFFF"/>
    </a:custClr>
    <a:custClr name="Blank">
      <a:srgbClr val="FFFFFF"/>
    </a:custClr>
    <a:custClr name="Shark">
      <a:srgbClr val="1A1D25"/>
    </a:custClr>
    <a:custClr>
      <a:srgbClr val="001B61"/>
    </a:custClr>
    <a:custClr>
      <a:srgbClr val="2F4784"/>
    </a:custClr>
    <a:custClr>
      <a:srgbClr val="546BA0"/>
    </a:custClr>
    <a:custClr>
      <a:srgbClr val="768BBB"/>
    </a:custClr>
    <a:custClr>
      <a:srgbClr val="96A9D2"/>
    </a:custClr>
    <a:custClr>
      <a:srgbClr val="B4C6E9"/>
    </a:custClr>
    <a:custClr>
      <a:srgbClr val="D1E1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idlertidig PPT mal mai 2025.pptx" id="{F2A27878-44D4-409C-9CCA-8FE02944E4BA}" vid="{84D0E023-818F-45B4-BF53-AD69153A43FF}"/>
    </a:ext>
  </a:extLst>
</a:theme>
</file>

<file path=ppt/theme/theme4.xml><?xml version="1.0" encoding="utf-8"?>
<a:theme xmlns:a="http://schemas.openxmlformats.org/drawingml/2006/main" name="1_Innholdsider">
  <a:themeElements>
    <a:clrScheme name="Riksrevisjonen 2025">
      <a:dk1>
        <a:srgbClr val="000000"/>
      </a:dk1>
      <a:lt1>
        <a:srgbClr val="FFFFFF"/>
      </a:lt1>
      <a:dk2>
        <a:srgbClr val="003297"/>
      </a:dk2>
      <a:lt2>
        <a:srgbClr val="FFFAEA"/>
      </a:lt2>
      <a:accent1>
        <a:srgbClr val="A40000"/>
      </a:accent1>
      <a:accent2>
        <a:srgbClr val="6C93E1"/>
      </a:accent2>
      <a:accent3>
        <a:srgbClr val="FF7F00"/>
      </a:accent3>
      <a:accent4>
        <a:srgbClr val="193271"/>
      </a:accent4>
      <a:accent5>
        <a:srgbClr val="E20029"/>
      </a:accent5>
      <a:accent6>
        <a:srgbClr val="00BA89"/>
      </a:accent6>
      <a:hlink>
        <a:srgbClr val="003297"/>
      </a:hlink>
      <a:folHlink>
        <a:srgbClr val="919191"/>
      </a:folHlink>
    </a:clrScheme>
    <a:fontScheme name="Avenir Next LT Pro + Demi">
      <a:majorFont>
        <a:latin typeface="Avenir Next LT Pro Demi"/>
        <a:ea typeface=""/>
        <a:cs typeface=""/>
      </a:majorFont>
      <a:minorFont>
        <a:latin typeface="Avenir Next LT Pro"/>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Smalt">
      <a:srgbClr val="003297"/>
    </a:custClr>
    <a:custClr name="Bright Red">
      <a:srgbClr val="A40000"/>
    </a:custClr>
    <a:custClr name="Monza">
      <a:srgbClr val="E20029"/>
    </a:custClr>
    <a:custClr name="Zircon">
      <a:srgbClr val="D1E1FF"/>
    </a:custClr>
    <a:custClr name="Lavender Blush">
      <a:srgbClr val="FFF5F7"/>
    </a:custClr>
    <a:custClr name="Biscay">
      <a:srgbClr val="193271"/>
    </a:custClr>
    <a:custClr name="Early Dawn">
      <a:srgbClr val="FFFAEA"/>
    </a:custClr>
    <a:custClr name="Blank">
      <a:srgbClr val="FFFFFF"/>
    </a:custClr>
    <a:custClr name="Blank">
      <a:srgbClr val="FFFFFF"/>
    </a:custClr>
    <a:custClr name="Alabaster">
      <a:srgbClr val="FCFCFC"/>
    </a:custClr>
    <a:custClr name="Bright Red">
      <a:srgbClr val="A40000"/>
    </a:custClr>
    <a:custClr name="Flush Orange">
      <a:srgbClr val="FF7F00"/>
    </a:custClr>
    <a:custClr name="Supernova">
      <a:srgbClr val="FFC200"/>
    </a:custClr>
    <a:custClr name="Cornflower Blue">
      <a:srgbClr val="81A0F9"/>
    </a:custClr>
    <a:custClr name="Biscay">
      <a:srgbClr val="193271"/>
    </a:custClr>
    <a:custClr name="Caribbean Green">
      <a:srgbClr val="00BA89"/>
    </a:custClr>
    <a:custClr name="Jewel">
      <a:srgbClr val="178C49"/>
    </a:custClr>
    <a:custClr name="Blank">
      <a:srgbClr val="FFFFFF"/>
    </a:custClr>
    <a:custClr name="Blank">
      <a:srgbClr val="FFFFFF"/>
    </a:custClr>
    <a:custClr name="Pigeon Post">
      <a:srgbClr val="BCC7DB"/>
    </a:custClr>
    <a:custClr name="DV Clairvoyant">
      <a:srgbClr val="730F7A"/>
    </a:custClr>
    <a:custClr name="DV Supernova">
      <a:srgbClr val="FFC200"/>
    </a:custClr>
    <a:custClr name="DV Deep Sea Green">
      <a:srgbClr val="0E6669"/>
    </a:custClr>
    <a:custClr name="DV Black">
      <a:srgbClr val="000000"/>
    </a:custClr>
    <a:custClr name="Blank">
      <a:srgbClr val="FFFFFF"/>
    </a:custClr>
    <a:custClr name="Blank">
      <a:srgbClr val="FFFFFF"/>
    </a:custClr>
    <a:custClr name="Blank">
      <a:srgbClr val="FFFFFF"/>
    </a:custClr>
    <a:custClr name="Blank">
      <a:srgbClr val="FFFFFF"/>
    </a:custClr>
    <a:custClr name="Blank">
      <a:srgbClr val="FFFFFF"/>
    </a:custClr>
    <a:custClr name="Cadet Blue">
      <a:srgbClr val="94A2BB"/>
    </a:custClr>
    <a:custClr>
      <a:srgbClr val="A40000"/>
    </a:custClr>
    <a:custClr>
      <a:srgbClr val="C1352A"/>
    </a:custClr>
    <a:custClr>
      <a:srgbClr val="D9574F"/>
    </a:custClr>
    <a:custClr>
      <a:srgbClr val="EA7874"/>
    </a:custClr>
    <a:custClr>
      <a:srgbClr val="F59898"/>
    </a:custClr>
    <a:custClr>
      <a:srgbClr val="FCB7B9"/>
    </a:custClr>
    <a:custClr>
      <a:srgbClr val="FFD6D8"/>
    </a:custClr>
    <a:custClr name="Blank">
      <a:srgbClr val="FFFFFF"/>
    </a:custClr>
    <a:custClr name="Blank">
      <a:srgbClr val="FFFFFF"/>
    </a:custClr>
    <a:custClr name="Shark">
      <a:srgbClr val="1A1D25"/>
    </a:custClr>
    <a:custClr>
      <a:srgbClr val="001B61"/>
    </a:custClr>
    <a:custClr>
      <a:srgbClr val="2F4784"/>
    </a:custClr>
    <a:custClr>
      <a:srgbClr val="546BA0"/>
    </a:custClr>
    <a:custClr>
      <a:srgbClr val="768BBB"/>
    </a:custClr>
    <a:custClr>
      <a:srgbClr val="96A9D2"/>
    </a:custClr>
    <a:custClr>
      <a:srgbClr val="B4C6E9"/>
    </a:custClr>
    <a:custClr>
      <a:srgbClr val="D1E1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idlertidig PPT mal mai 2025.pptx" id="{F2A27878-44D4-409C-9CCA-8FE02944E4BA}" vid="{3A4F450F-A7C7-4B60-B923-AAD58A30867D}"/>
    </a:ext>
  </a:extLst>
</a:theme>
</file>

<file path=ppt/theme/theme5.xml><?xml version="1.0" encoding="utf-8"?>
<a:theme xmlns:a="http://schemas.openxmlformats.org/drawingml/2006/main" name="2_Innholdsider">
  <a:themeElements>
    <a:clrScheme name="Riksrevisjonen 2025">
      <a:dk1>
        <a:srgbClr val="000000"/>
      </a:dk1>
      <a:lt1>
        <a:srgbClr val="FFFFFF"/>
      </a:lt1>
      <a:dk2>
        <a:srgbClr val="003297"/>
      </a:dk2>
      <a:lt2>
        <a:srgbClr val="FFFAEA"/>
      </a:lt2>
      <a:accent1>
        <a:srgbClr val="A40000"/>
      </a:accent1>
      <a:accent2>
        <a:srgbClr val="6C93E1"/>
      </a:accent2>
      <a:accent3>
        <a:srgbClr val="FF7F00"/>
      </a:accent3>
      <a:accent4>
        <a:srgbClr val="193271"/>
      </a:accent4>
      <a:accent5>
        <a:srgbClr val="E20029"/>
      </a:accent5>
      <a:accent6>
        <a:srgbClr val="00BA89"/>
      </a:accent6>
      <a:hlink>
        <a:srgbClr val="003297"/>
      </a:hlink>
      <a:folHlink>
        <a:srgbClr val="919191"/>
      </a:folHlink>
    </a:clrScheme>
    <a:fontScheme name="Avenir Next LT Pro + Demi">
      <a:majorFont>
        <a:latin typeface="Avenir Next LT Pro Demi"/>
        <a:ea typeface=""/>
        <a:cs typeface=""/>
      </a:majorFont>
      <a:minorFont>
        <a:latin typeface="Avenir Next LT Pro"/>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Smalt">
      <a:srgbClr val="003297"/>
    </a:custClr>
    <a:custClr name="Bright Red">
      <a:srgbClr val="A40000"/>
    </a:custClr>
    <a:custClr name="Monza">
      <a:srgbClr val="E20029"/>
    </a:custClr>
    <a:custClr name="Zircon">
      <a:srgbClr val="D1E1FF"/>
    </a:custClr>
    <a:custClr name="Lavender Blush">
      <a:srgbClr val="FFF5F7"/>
    </a:custClr>
    <a:custClr name="Biscay">
      <a:srgbClr val="193271"/>
    </a:custClr>
    <a:custClr name="Early Dawn">
      <a:srgbClr val="FFFAEA"/>
    </a:custClr>
    <a:custClr name="Blank">
      <a:srgbClr val="FFFFFF"/>
    </a:custClr>
    <a:custClr name="Blank">
      <a:srgbClr val="FFFFFF"/>
    </a:custClr>
    <a:custClr name="Alabaster">
      <a:srgbClr val="FCFCFC"/>
    </a:custClr>
    <a:custClr name="Bright Red">
      <a:srgbClr val="A40000"/>
    </a:custClr>
    <a:custClr name="Flush Orange">
      <a:srgbClr val="FF7F00"/>
    </a:custClr>
    <a:custClr name="Supernova">
      <a:srgbClr val="FFC200"/>
    </a:custClr>
    <a:custClr name="Cornflower Blue">
      <a:srgbClr val="81A0F9"/>
    </a:custClr>
    <a:custClr name="Biscay">
      <a:srgbClr val="193271"/>
    </a:custClr>
    <a:custClr name="Caribbean Green">
      <a:srgbClr val="00BA89"/>
    </a:custClr>
    <a:custClr name="Jewel">
      <a:srgbClr val="178C49"/>
    </a:custClr>
    <a:custClr name="Blank">
      <a:srgbClr val="FFFFFF"/>
    </a:custClr>
    <a:custClr name="Blank">
      <a:srgbClr val="FFFFFF"/>
    </a:custClr>
    <a:custClr name="Pigeon Post">
      <a:srgbClr val="BCC7DB"/>
    </a:custClr>
    <a:custClr name="DV Clairvoyant">
      <a:srgbClr val="730F7A"/>
    </a:custClr>
    <a:custClr name="DV Supernova">
      <a:srgbClr val="FFC200"/>
    </a:custClr>
    <a:custClr name="DV Deep Sea Green">
      <a:srgbClr val="0E6669"/>
    </a:custClr>
    <a:custClr name="DV Black">
      <a:srgbClr val="000000"/>
    </a:custClr>
    <a:custClr name="Blank">
      <a:srgbClr val="FFFFFF"/>
    </a:custClr>
    <a:custClr name="Blank">
      <a:srgbClr val="FFFFFF"/>
    </a:custClr>
    <a:custClr name="Blank">
      <a:srgbClr val="FFFFFF"/>
    </a:custClr>
    <a:custClr name="Blank">
      <a:srgbClr val="FFFFFF"/>
    </a:custClr>
    <a:custClr name="Blank">
      <a:srgbClr val="FFFFFF"/>
    </a:custClr>
    <a:custClr name="Cadet Blue">
      <a:srgbClr val="94A2BB"/>
    </a:custClr>
    <a:custClr>
      <a:srgbClr val="A40000"/>
    </a:custClr>
    <a:custClr>
      <a:srgbClr val="C1352A"/>
    </a:custClr>
    <a:custClr>
      <a:srgbClr val="D9574F"/>
    </a:custClr>
    <a:custClr>
      <a:srgbClr val="EA7874"/>
    </a:custClr>
    <a:custClr>
      <a:srgbClr val="F59898"/>
    </a:custClr>
    <a:custClr>
      <a:srgbClr val="FCB7B9"/>
    </a:custClr>
    <a:custClr>
      <a:srgbClr val="FFD6D8"/>
    </a:custClr>
    <a:custClr name="Blank">
      <a:srgbClr val="FFFFFF"/>
    </a:custClr>
    <a:custClr name="Blank">
      <a:srgbClr val="FFFFFF"/>
    </a:custClr>
    <a:custClr name="Shark">
      <a:srgbClr val="1A1D25"/>
    </a:custClr>
    <a:custClr>
      <a:srgbClr val="001B61"/>
    </a:custClr>
    <a:custClr>
      <a:srgbClr val="2F4784"/>
    </a:custClr>
    <a:custClr>
      <a:srgbClr val="546BA0"/>
    </a:custClr>
    <a:custClr>
      <a:srgbClr val="768BBB"/>
    </a:custClr>
    <a:custClr>
      <a:srgbClr val="96A9D2"/>
    </a:custClr>
    <a:custClr>
      <a:srgbClr val="B4C6E9"/>
    </a:custClr>
    <a:custClr>
      <a:srgbClr val="D1E1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idlertidig PPT mal mai 2025.pptx" id="{F2A27878-44D4-409C-9CCA-8FE02944E4BA}" vid="{3A4F450F-A7C7-4B60-B923-AAD58A30867D}"/>
    </a:ext>
  </a:extLst>
</a:theme>
</file>

<file path=ppt/theme/theme6.xml><?xml version="1.0" encoding="utf-8"?>
<a:theme xmlns:a="http://schemas.openxmlformats.org/drawingml/2006/main" name="2_Forsider / Avslutning">
  <a:themeElements>
    <a:clrScheme name="Riksrevisjonen 2025">
      <a:dk1>
        <a:srgbClr val="000000"/>
      </a:dk1>
      <a:lt1>
        <a:srgbClr val="FFFFFF"/>
      </a:lt1>
      <a:dk2>
        <a:srgbClr val="003297"/>
      </a:dk2>
      <a:lt2>
        <a:srgbClr val="FFFAEA"/>
      </a:lt2>
      <a:accent1>
        <a:srgbClr val="A40000"/>
      </a:accent1>
      <a:accent2>
        <a:srgbClr val="6C93E1"/>
      </a:accent2>
      <a:accent3>
        <a:srgbClr val="FF7F00"/>
      </a:accent3>
      <a:accent4>
        <a:srgbClr val="193271"/>
      </a:accent4>
      <a:accent5>
        <a:srgbClr val="E20029"/>
      </a:accent5>
      <a:accent6>
        <a:srgbClr val="00BA89"/>
      </a:accent6>
      <a:hlink>
        <a:srgbClr val="003297"/>
      </a:hlink>
      <a:folHlink>
        <a:srgbClr val="919191"/>
      </a:folHlink>
    </a:clrScheme>
    <a:fontScheme name="Avenir Next LT Pro + Demi">
      <a:majorFont>
        <a:latin typeface="Avenir Next LT Pro Demi"/>
        <a:ea typeface=""/>
        <a:cs typeface=""/>
      </a:majorFont>
      <a:minorFont>
        <a:latin typeface="Avenir Next LT Pro"/>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Smalt">
      <a:srgbClr val="003297"/>
    </a:custClr>
    <a:custClr name="Bright Red">
      <a:srgbClr val="A40000"/>
    </a:custClr>
    <a:custClr name="Monza">
      <a:srgbClr val="E20029"/>
    </a:custClr>
    <a:custClr name="Zircon">
      <a:srgbClr val="D1E1FF"/>
    </a:custClr>
    <a:custClr name="Lavender Blush">
      <a:srgbClr val="FFF5F7"/>
    </a:custClr>
    <a:custClr name="Biscay">
      <a:srgbClr val="193271"/>
    </a:custClr>
    <a:custClr name="Early Dawn">
      <a:srgbClr val="FFFAEA"/>
    </a:custClr>
    <a:custClr name="Blank">
      <a:srgbClr val="FFFFFF"/>
    </a:custClr>
    <a:custClr name="Blank">
      <a:srgbClr val="FFFFFF"/>
    </a:custClr>
    <a:custClr name="Alabaster">
      <a:srgbClr val="FCFCFC"/>
    </a:custClr>
    <a:custClr name="Bright Red">
      <a:srgbClr val="A40000"/>
    </a:custClr>
    <a:custClr name="Flush Orange">
      <a:srgbClr val="FF7F00"/>
    </a:custClr>
    <a:custClr name="Supernova">
      <a:srgbClr val="FFC200"/>
    </a:custClr>
    <a:custClr name="Cornflower Blue">
      <a:srgbClr val="81A0F9"/>
    </a:custClr>
    <a:custClr name="Biscay">
      <a:srgbClr val="193271"/>
    </a:custClr>
    <a:custClr name="Caribbean Green">
      <a:srgbClr val="00BA89"/>
    </a:custClr>
    <a:custClr name="Jewel">
      <a:srgbClr val="178C49"/>
    </a:custClr>
    <a:custClr name="Blank">
      <a:srgbClr val="FFFFFF"/>
    </a:custClr>
    <a:custClr name="Blank">
      <a:srgbClr val="FFFFFF"/>
    </a:custClr>
    <a:custClr name="Pigeon Post">
      <a:srgbClr val="BCC7DB"/>
    </a:custClr>
    <a:custClr name="DV Clairvoyant">
      <a:srgbClr val="730F7A"/>
    </a:custClr>
    <a:custClr name="DV Supernova">
      <a:srgbClr val="FFC200"/>
    </a:custClr>
    <a:custClr name="DV Deep Sea Green">
      <a:srgbClr val="0E6669"/>
    </a:custClr>
    <a:custClr name="DV Black">
      <a:srgbClr val="000000"/>
    </a:custClr>
    <a:custClr name="Blank">
      <a:srgbClr val="FFFFFF"/>
    </a:custClr>
    <a:custClr name="Blank">
      <a:srgbClr val="FFFFFF"/>
    </a:custClr>
    <a:custClr name="Blank">
      <a:srgbClr val="FFFFFF"/>
    </a:custClr>
    <a:custClr name="Blank">
      <a:srgbClr val="FFFFFF"/>
    </a:custClr>
    <a:custClr name="Blank">
      <a:srgbClr val="FFFFFF"/>
    </a:custClr>
    <a:custClr name="Cadet Blue">
      <a:srgbClr val="94A2BB"/>
    </a:custClr>
    <a:custClr>
      <a:srgbClr val="A40000"/>
    </a:custClr>
    <a:custClr>
      <a:srgbClr val="C1352A"/>
    </a:custClr>
    <a:custClr>
      <a:srgbClr val="D9574F"/>
    </a:custClr>
    <a:custClr>
      <a:srgbClr val="EA7874"/>
    </a:custClr>
    <a:custClr>
      <a:srgbClr val="F59898"/>
    </a:custClr>
    <a:custClr>
      <a:srgbClr val="FCB7B9"/>
    </a:custClr>
    <a:custClr>
      <a:srgbClr val="FFD6D8"/>
    </a:custClr>
    <a:custClr name="Blank">
      <a:srgbClr val="FFFFFF"/>
    </a:custClr>
    <a:custClr name="Blank">
      <a:srgbClr val="FFFFFF"/>
    </a:custClr>
    <a:custClr name="Shark">
      <a:srgbClr val="1A1D25"/>
    </a:custClr>
    <a:custClr>
      <a:srgbClr val="001B61"/>
    </a:custClr>
    <a:custClr>
      <a:srgbClr val="2F4784"/>
    </a:custClr>
    <a:custClr>
      <a:srgbClr val="546BA0"/>
    </a:custClr>
    <a:custClr>
      <a:srgbClr val="768BBB"/>
    </a:custClr>
    <a:custClr>
      <a:srgbClr val="96A9D2"/>
    </a:custClr>
    <a:custClr>
      <a:srgbClr val="B4C6E9"/>
    </a:custClr>
    <a:custClr>
      <a:srgbClr val="D1E1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idlertidig PPT mal mai 2025.pptx" id="{F2A27878-44D4-409C-9CCA-8FE02944E4BA}" vid="{84D0E023-818F-45B4-BF53-AD69153A43FF}"/>
    </a:ext>
  </a:extLst>
</a:theme>
</file>

<file path=ppt/theme/theme7.xml><?xml version="1.0" encoding="utf-8"?>
<a:theme xmlns:a="http://schemas.openxmlformats.org/drawingml/2006/main" name="Bouvet presentasjonsmal - Blå">
  <a:themeElements>
    <a:clrScheme name="Bouvet 2021">
      <a:dk1>
        <a:srgbClr val="000000"/>
      </a:dk1>
      <a:lt1>
        <a:srgbClr val="FFFFFF"/>
      </a:lt1>
      <a:dk2>
        <a:srgbClr val="11133C"/>
      </a:dk2>
      <a:lt2>
        <a:srgbClr val="F9EAD3"/>
      </a:lt2>
      <a:accent1>
        <a:srgbClr val="78FE9C"/>
      </a:accent1>
      <a:accent2>
        <a:srgbClr val="1D43C6"/>
      </a:accent2>
      <a:accent3>
        <a:srgbClr val="F9A86F"/>
      </a:accent3>
      <a:accent4>
        <a:srgbClr val="C3D5E1"/>
      </a:accent4>
      <a:accent5>
        <a:srgbClr val="1D1D1B"/>
      </a:accent5>
      <a:accent6>
        <a:srgbClr val="EE2950"/>
      </a:accent6>
      <a:hlink>
        <a:srgbClr val="060FBF"/>
      </a:hlink>
      <a:folHlink>
        <a:srgbClr val="000000"/>
      </a:folHlink>
    </a:clrScheme>
    <a:fontScheme name="Bouvet 2021">
      <a:majorFont>
        <a:latin typeface="Inter"/>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108000" rIns="108000" bIns="108000"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solidFill>
              <a:schemeClr val="bg2"/>
            </a:solidFill>
          </a:defRPr>
        </a:defPPr>
      </a:lstStyle>
    </a:txDef>
  </a:objectDefaults>
  <a:extraClrSchemeLst/>
  <a:extLst>
    <a:ext uri="{05A4C25C-085E-4340-85A3-A5531E510DB2}">
      <thm15:themeFamily xmlns:thm15="http://schemas.microsoft.com/office/thememl/2012/main" name="mal_10_10_2022" id="{0138A3F3-7379-9846-A0BB-37427D804136}" vid="{A87087A4-1B96-964D-A07F-DB55B6D110CF}"/>
    </a:ext>
  </a:extLst>
</a:theme>
</file>

<file path=ppt/theme/theme8.xml><?xml version="1.0" encoding="utf-8"?>
<a:theme xmlns:a="http://schemas.openxmlformats.org/drawingml/2006/main" name="1_Custom Design">
  <a:themeElements>
    <a:clrScheme name="Custom 3">
      <a:dk1>
        <a:srgbClr val="000000"/>
      </a:dk1>
      <a:lt1>
        <a:srgbClr val="FFFFFF"/>
      </a:lt1>
      <a:dk2>
        <a:srgbClr val="11133C"/>
      </a:dk2>
      <a:lt2>
        <a:srgbClr val="F9EAD3"/>
      </a:lt2>
      <a:accent1>
        <a:srgbClr val="78FE9C"/>
      </a:accent1>
      <a:accent2>
        <a:srgbClr val="060FBF"/>
      </a:accent2>
      <a:accent3>
        <a:srgbClr val="F9A86F"/>
      </a:accent3>
      <a:accent4>
        <a:srgbClr val="C3D5E1"/>
      </a:accent4>
      <a:accent5>
        <a:srgbClr val="1D1D1B"/>
      </a:accent5>
      <a:accent6>
        <a:srgbClr val="1D43C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9" id="{5816C4B5-A2E4-2A4B-8E53-390734D354D5}" vid="{6B1D7DAD-8370-5D43-9ED1-8BBCC5BDE923}"/>
    </a:ext>
  </a:extLst>
</a:theme>
</file>

<file path=ppt/theme/theme9.xml><?xml version="1.0" encoding="utf-8"?>
<a:theme xmlns:a="http://schemas.openxmlformats.org/drawingml/2006/main" name="3_Innholdsider">
  <a:themeElements>
    <a:clrScheme name="Riksrevisjonen 2025">
      <a:dk1>
        <a:srgbClr val="000000"/>
      </a:dk1>
      <a:lt1>
        <a:srgbClr val="FFFFFF"/>
      </a:lt1>
      <a:dk2>
        <a:srgbClr val="003297"/>
      </a:dk2>
      <a:lt2>
        <a:srgbClr val="FFFAEA"/>
      </a:lt2>
      <a:accent1>
        <a:srgbClr val="A40000"/>
      </a:accent1>
      <a:accent2>
        <a:srgbClr val="6C93E1"/>
      </a:accent2>
      <a:accent3>
        <a:srgbClr val="FF7F00"/>
      </a:accent3>
      <a:accent4>
        <a:srgbClr val="193271"/>
      </a:accent4>
      <a:accent5>
        <a:srgbClr val="E20029"/>
      </a:accent5>
      <a:accent6>
        <a:srgbClr val="00BA89"/>
      </a:accent6>
      <a:hlink>
        <a:srgbClr val="003297"/>
      </a:hlink>
      <a:folHlink>
        <a:srgbClr val="919191"/>
      </a:folHlink>
    </a:clrScheme>
    <a:fontScheme name="Avenir Next LT Pro + Demi">
      <a:majorFont>
        <a:latin typeface="Avenir Next LT Pro Demi"/>
        <a:ea typeface=""/>
        <a:cs typeface=""/>
      </a:majorFont>
      <a:minorFont>
        <a:latin typeface="Avenir Next LT Pro"/>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Smalt">
      <a:srgbClr val="003297"/>
    </a:custClr>
    <a:custClr name="Bright Red">
      <a:srgbClr val="A40000"/>
    </a:custClr>
    <a:custClr name="Monza">
      <a:srgbClr val="E20029"/>
    </a:custClr>
    <a:custClr name="Zircon">
      <a:srgbClr val="D1E1FF"/>
    </a:custClr>
    <a:custClr name="Lavender Blush">
      <a:srgbClr val="FFF5F7"/>
    </a:custClr>
    <a:custClr name="Biscay">
      <a:srgbClr val="193271"/>
    </a:custClr>
    <a:custClr name="Early Dawn">
      <a:srgbClr val="FFFAEA"/>
    </a:custClr>
    <a:custClr name="Blank">
      <a:srgbClr val="FFFFFF"/>
    </a:custClr>
    <a:custClr name="Blank">
      <a:srgbClr val="FFFFFF"/>
    </a:custClr>
    <a:custClr name="Alabaster">
      <a:srgbClr val="FCFCFC"/>
    </a:custClr>
    <a:custClr name="Bright Red">
      <a:srgbClr val="A40000"/>
    </a:custClr>
    <a:custClr name="Flush Orange">
      <a:srgbClr val="FF7F00"/>
    </a:custClr>
    <a:custClr name="Supernova">
      <a:srgbClr val="FFC200"/>
    </a:custClr>
    <a:custClr name="Cornflower Blue">
      <a:srgbClr val="81A0F9"/>
    </a:custClr>
    <a:custClr name="Biscay">
      <a:srgbClr val="193271"/>
    </a:custClr>
    <a:custClr name="Caribbean Green">
      <a:srgbClr val="00BA89"/>
    </a:custClr>
    <a:custClr name="Jewel">
      <a:srgbClr val="178C49"/>
    </a:custClr>
    <a:custClr name="Blank">
      <a:srgbClr val="FFFFFF"/>
    </a:custClr>
    <a:custClr name="Blank">
      <a:srgbClr val="FFFFFF"/>
    </a:custClr>
    <a:custClr name="Pigeon Post">
      <a:srgbClr val="BCC7DB"/>
    </a:custClr>
    <a:custClr name="DV Clairvoyant">
      <a:srgbClr val="730F7A"/>
    </a:custClr>
    <a:custClr name="DV Supernova">
      <a:srgbClr val="FFC200"/>
    </a:custClr>
    <a:custClr name="DV Deep Sea Green">
      <a:srgbClr val="0E6669"/>
    </a:custClr>
    <a:custClr name="DV Black">
      <a:srgbClr val="000000"/>
    </a:custClr>
    <a:custClr name="Blank">
      <a:srgbClr val="FFFFFF"/>
    </a:custClr>
    <a:custClr name="Blank">
      <a:srgbClr val="FFFFFF"/>
    </a:custClr>
    <a:custClr name="Blank">
      <a:srgbClr val="FFFFFF"/>
    </a:custClr>
    <a:custClr name="Blank">
      <a:srgbClr val="FFFFFF"/>
    </a:custClr>
    <a:custClr name="Blank">
      <a:srgbClr val="FFFFFF"/>
    </a:custClr>
    <a:custClr name="Cadet Blue">
      <a:srgbClr val="94A2BB"/>
    </a:custClr>
    <a:custClr>
      <a:srgbClr val="A40000"/>
    </a:custClr>
    <a:custClr>
      <a:srgbClr val="C1352A"/>
    </a:custClr>
    <a:custClr>
      <a:srgbClr val="D9574F"/>
    </a:custClr>
    <a:custClr>
      <a:srgbClr val="EA7874"/>
    </a:custClr>
    <a:custClr>
      <a:srgbClr val="F59898"/>
    </a:custClr>
    <a:custClr>
      <a:srgbClr val="FCB7B9"/>
    </a:custClr>
    <a:custClr>
      <a:srgbClr val="FFD6D8"/>
    </a:custClr>
    <a:custClr name="Blank">
      <a:srgbClr val="FFFFFF"/>
    </a:custClr>
    <a:custClr name="Blank">
      <a:srgbClr val="FFFFFF"/>
    </a:custClr>
    <a:custClr name="Shark">
      <a:srgbClr val="1A1D25"/>
    </a:custClr>
    <a:custClr>
      <a:srgbClr val="001B61"/>
    </a:custClr>
    <a:custClr>
      <a:srgbClr val="2F4784"/>
    </a:custClr>
    <a:custClr>
      <a:srgbClr val="546BA0"/>
    </a:custClr>
    <a:custClr>
      <a:srgbClr val="768BBB"/>
    </a:custClr>
    <a:custClr>
      <a:srgbClr val="96A9D2"/>
    </a:custClr>
    <a:custClr>
      <a:srgbClr val="B4C6E9"/>
    </a:custClr>
    <a:custClr>
      <a:srgbClr val="D1E1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idlertidig PPT mal mai 2025.pptx" id="{F2A27878-44D4-409C-9CCA-8FE02944E4BA}" vid="{3A4F450F-A7C7-4B60-B923-AAD58A30867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006BCB180873C4DB0171B789F822F73" ma:contentTypeVersion="3" ma:contentTypeDescription="Opprett et nytt dokument." ma:contentTypeScope="" ma:versionID="c2b59a8efe6bf02b10b0e8b48abde88f">
  <xsd:schema xmlns:xsd="http://www.w3.org/2001/XMLSchema" xmlns:xs="http://www.w3.org/2001/XMLSchema" xmlns:p="http://schemas.microsoft.com/office/2006/metadata/properties" xmlns:ns2="b3f2a634-79f0-40fc-ac65-e80711049f24" targetNamespace="http://schemas.microsoft.com/office/2006/metadata/properties" ma:root="true" ma:fieldsID="ac82d809ce36e49143efaebea5f116b7" ns2:_="">
    <xsd:import namespace="b3f2a634-79f0-40fc-ac65-e80711049f24"/>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f2a634-79f0-40fc-ac65-e80711049f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87A98B-2745-4272-B9B2-38BC8E77665C}">
  <ds:schemaRefs>
    <ds:schemaRef ds:uri="b3f2a634-79f0-40fc-ac65-e80711049f24"/>
    <ds:schemaRef ds:uri="http://www.w3.org/XML/1998/namespace"/>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purl.org/dc/dcmitype/"/>
    <ds:schemaRef ds:uri="http://purl.org/dc/elements/1.1/"/>
  </ds:schemaRefs>
</ds:datastoreItem>
</file>

<file path=customXml/itemProps2.xml><?xml version="1.0" encoding="utf-8"?>
<ds:datastoreItem xmlns:ds="http://schemas.openxmlformats.org/officeDocument/2006/customXml" ds:itemID="{B07022D7-38EE-448A-ACAA-F7B65725BF42}">
  <ds:schemaRefs>
    <ds:schemaRef ds:uri="http://schemas.microsoft.com/sharepoint/v3/contenttype/forms"/>
  </ds:schemaRefs>
</ds:datastoreItem>
</file>

<file path=customXml/itemProps3.xml><?xml version="1.0" encoding="utf-8"?>
<ds:datastoreItem xmlns:ds="http://schemas.openxmlformats.org/officeDocument/2006/customXml" ds:itemID="{908CAB80-D4BE-4288-B937-8D6C65B0CD8C}">
  <ds:schemaRefs>
    <ds:schemaRef ds:uri="b3f2a634-79f0-40fc-ac65-e80711049f2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6259e6e3-2afb-469f-a0df-b995253cdc93}" enabled="1" method="Privileged" siteId="{c317fa72-b393-44ea-a87c-ea272e8d963d}" removed="0"/>
</clbl:labelList>
</file>

<file path=docProps/app.xml><?xml version="1.0" encoding="utf-8"?>
<Properties xmlns="http://schemas.openxmlformats.org/officeDocument/2006/extended-properties" xmlns:vt="http://schemas.openxmlformats.org/officeDocument/2006/docPropsVTypes">
  <Template>Midlertidig PPT mal mai 2025</Template>
  <TotalTime>486</TotalTime>
  <Words>1007</Words>
  <Application>Microsoft Macintosh PowerPoint</Application>
  <PresentationFormat>Widescreen</PresentationFormat>
  <Paragraphs>121</Paragraphs>
  <Slides>27</Slides>
  <Notes>2</Notes>
  <HiddenSlides>0</HiddenSlides>
  <MMClips>0</MMClips>
  <ScaleCrop>false</ScaleCrop>
  <HeadingPairs>
    <vt:vector size="8" baseType="variant">
      <vt:variant>
        <vt:lpstr>Brukte skrifter</vt:lpstr>
      </vt:variant>
      <vt:variant>
        <vt:i4>13</vt:i4>
      </vt:variant>
      <vt:variant>
        <vt:lpstr>Tema</vt:lpstr>
      </vt:variant>
      <vt:variant>
        <vt:i4>9</vt:i4>
      </vt:variant>
      <vt:variant>
        <vt:lpstr>Innebygde OLE-servere</vt:lpstr>
      </vt:variant>
      <vt:variant>
        <vt:i4>1</vt:i4>
      </vt:variant>
      <vt:variant>
        <vt:lpstr>Lysbildetitler</vt:lpstr>
      </vt:variant>
      <vt:variant>
        <vt:i4>27</vt:i4>
      </vt:variant>
    </vt:vector>
  </HeadingPairs>
  <TitlesOfParts>
    <vt:vector size="50" baseType="lpstr">
      <vt:lpstr>Aptos</vt:lpstr>
      <vt:lpstr>Arial</vt:lpstr>
      <vt:lpstr>Avenir Next Demi Bold</vt:lpstr>
      <vt:lpstr>Avenir Next LT Pro</vt:lpstr>
      <vt:lpstr>Avenir Next LT Pro Demi</vt:lpstr>
      <vt:lpstr>Courier New</vt:lpstr>
      <vt:lpstr>Dubai</vt:lpstr>
      <vt:lpstr>Inter</vt:lpstr>
      <vt:lpstr>Inter SemiBold</vt:lpstr>
      <vt:lpstr>Produkt Light</vt:lpstr>
      <vt:lpstr>Tahoma</vt:lpstr>
      <vt:lpstr>Times New Roman</vt:lpstr>
      <vt:lpstr>Wingdings</vt:lpstr>
      <vt:lpstr>Innholdsider</vt:lpstr>
      <vt:lpstr>Kapittelskiller</vt:lpstr>
      <vt:lpstr>Forsider / Avslutning</vt:lpstr>
      <vt:lpstr>1_Innholdsider</vt:lpstr>
      <vt:lpstr>2_Innholdsider</vt:lpstr>
      <vt:lpstr>2_Forsider / Avslutning</vt:lpstr>
      <vt:lpstr>Bouvet presentasjonsmal - Blå</vt:lpstr>
      <vt:lpstr>1_Custom Design</vt:lpstr>
      <vt:lpstr>3_Innholdsider</vt:lpstr>
      <vt:lpstr>think-cell Slide</vt:lpstr>
      <vt:lpstr>How AI Will Affect Performance Audit</vt:lpstr>
      <vt:lpstr>PowerPoint-presentasjon</vt:lpstr>
      <vt:lpstr>AI is a good thing</vt:lpstr>
      <vt:lpstr>But…</vt:lpstr>
      <vt:lpstr>PowerPoint-presentasjon</vt:lpstr>
      <vt:lpstr>Automated, dystopian case processing.. (AI-powered Case Processing Support System, based on HAL9000)</vt:lpstr>
      <vt:lpstr>Safe, secure &amp; trustworthy AI?</vt:lpstr>
      <vt:lpstr>PowerPoint-presentasjon</vt:lpstr>
      <vt:lpstr>Have we (and the government) gotten AI FOMO?</vt:lpstr>
      <vt:lpstr>AI – it is not magic</vt:lpstr>
      <vt:lpstr>Auditing AI – Where to start  For example here?</vt:lpstr>
      <vt:lpstr>And don’t forget this </vt:lpstr>
      <vt:lpstr>Examples of simple questions</vt:lpstr>
      <vt:lpstr>www.auditingalgorithms.net </vt:lpstr>
      <vt:lpstr>A recent performance audit report</vt:lpstr>
      <vt:lpstr>Audit of AI in government – some possibilities…</vt:lpstr>
      <vt:lpstr>Making use of AI at NAO Norway</vt:lpstr>
      <vt:lpstr>An AI Strategy</vt:lpstr>
      <vt:lpstr>The NAO Norway’s strategy for AI</vt:lpstr>
      <vt:lpstr>Examples – measures under Goal 1</vt:lpstr>
      <vt:lpstr>So what about AI agents? Sure.    ...but we're going to do things properly   - immature technology  - risk   </vt:lpstr>
      <vt:lpstr>Selected measures under Objective 2</vt:lpstr>
      <vt:lpstr>Bought our own Nvidia GPU-cluster </vt:lpstr>
      <vt:lpstr>Selected measures under Objective 3</vt:lpstr>
      <vt:lpstr>Some AI-based products </vt:lpstr>
      <vt:lpstr>Moving towards 2030...</vt:lpstr>
      <vt:lpstr>PowerPoint-presentasjon</vt:lpstr>
    </vt:vector>
  </TitlesOfParts>
  <Company>Riksrevisjon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aaby, Anne</dc:creator>
  <cp:lastModifiedBy>Beckstrøm, Jan Roar</cp:lastModifiedBy>
  <cp:revision>17</cp:revision>
  <cp:lastPrinted>2026-03-10T15:40:48Z</cp:lastPrinted>
  <dcterms:created xsi:type="dcterms:W3CDTF">2025-10-06T07:46:04Z</dcterms:created>
  <dcterms:modified xsi:type="dcterms:W3CDTF">2026-03-14T12:4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06BCB180873C4DB0171B789F822F73</vt:lpwstr>
  </property>
  <property fmtid="{D5CDD505-2E9C-101B-9397-08002B2CF9AE}" pid="3" name="_dlc_DocIdItemGuid">
    <vt:lpwstr>3cb5a125-aa2b-42e9-bfc2-2325419813d5</vt:lpwstr>
  </property>
  <property fmtid="{D5CDD505-2E9C-101B-9397-08002B2CF9AE}" pid="4" name="Emneord">
    <vt:lpwstr>113;#Kurs|814956c6-aad2-4a66-847f-413c764e7245</vt:lpwstr>
  </property>
  <property fmtid="{D5CDD505-2E9C-101B-9397-08002B2CF9AE}" pid="5" name="ComplianceAssetId">
    <vt:lpwstr/>
  </property>
  <property fmtid="{D5CDD505-2E9C-101B-9397-08002B2CF9AE}" pid="6" name="_ExtendedDescription">
    <vt:lpwstr/>
  </property>
  <property fmtid="{D5CDD505-2E9C-101B-9397-08002B2CF9AE}" pid="7" name="_activity">
    <vt:lpwstr>{"FileActivityType":"9","FileActivityTimeStamp":"2026-02-13T16:56:02.757Z","FileActivityUsersOnPage":[{"DisplayName":"Kemble, Sally","Id":"sake@riksrevisjonen.no"},{"DisplayName":"Forbord, Bjørn Kåre","Id":"bkf@riksrevisjonen.no"}],"FileActivityNavigationId":null}</vt:lpwstr>
  </property>
  <property fmtid="{D5CDD505-2E9C-101B-9397-08002B2CF9AE}" pid="8" name="TriggerFlowInfo">
    <vt:lpwstr/>
  </property>
</Properties>
</file>